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2" r:id="rId2"/>
  </p:sldMasterIdLst>
  <p:notesMasterIdLst>
    <p:notesMasterId r:id="rId4"/>
  </p:notesMasterIdLst>
  <p:sldIdLst>
    <p:sldId id="260" r:id="rId3"/>
  </p:sldIdLst>
  <p:sldSz cx="7559675" cy="10691813"/>
  <p:notesSz cx="6888163" cy="100203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33"/>
    <a:srgbClr val="33CCCC"/>
    <a:srgbClr val="CF4D72"/>
    <a:srgbClr val="FF7619"/>
    <a:srgbClr val="FF6600"/>
    <a:srgbClr val="FF9900"/>
    <a:srgbClr val="FF9933"/>
    <a:srgbClr val="53A0A0"/>
    <a:srgbClr val="CCFFFF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042" autoAdjust="0"/>
    <p:restoredTop sz="94660" autoAdjust="0"/>
  </p:normalViewPr>
  <p:slideViewPr>
    <p:cSldViewPr snapToGrid="0">
      <p:cViewPr varScale="1">
        <p:scale>
          <a:sx n="56" d="100"/>
          <a:sy n="56" d="100"/>
        </p:scale>
        <p:origin x="2890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294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902075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5D8B23-D9F9-443D-8D86-1CC0F8181A1D}" type="datetimeFigureOut">
              <a:rPr kumimoji="1" lang="ja-JP" altLang="en-US" smtClean="0"/>
              <a:t>2024/2/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247900" y="1252538"/>
            <a:ext cx="2392363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8975" y="4822825"/>
            <a:ext cx="5510213" cy="39449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51865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902075" y="951865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644FD7-62D9-46CF-9207-DAA83FE52C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690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644FD7-62D9-46CF-9207-DAA83FE52CD8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50103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テキスト プレースホルダー 3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10410" y="9772137"/>
            <a:ext cx="3738151" cy="700133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MICRO STORE</a:t>
            </a:r>
            <a:endParaRPr kumimoji="1" lang="ja-JP" altLang="en-US" dirty="0"/>
          </a:p>
        </p:txBody>
      </p:sp>
      <p:sp>
        <p:nvSpPr>
          <p:cNvPr id="35" name="テキスト プレースホルダー 33"/>
          <p:cNvSpPr>
            <a:spLocks noGrp="1"/>
          </p:cNvSpPr>
          <p:nvPr>
            <p:ph type="body" sz="quarter" idx="11" hasCustomPrompt="1"/>
          </p:nvPr>
        </p:nvSpPr>
        <p:spPr>
          <a:xfrm>
            <a:off x="3950068" y="9688893"/>
            <a:ext cx="3531366" cy="783377"/>
          </a:xfrm>
        </p:spPr>
        <p:txBody>
          <a:bodyPr>
            <a:noAutofit/>
          </a:bodyPr>
          <a:lstStyle>
            <a:lvl1pPr marL="0" indent="0">
              <a:buNone/>
              <a:defRPr sz="4500" b="1">
                <a:solidFill>
                  <a:schemeClr val="tx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-0000-0000</a:t>
            </a:r>
            <a:endParaRPr kumimoji="1" lang="ja-JP" altLang="en-US" dirty="0"/>
          </a:p>
        </p:txBody>
      </p:sp>
      <p:sp>
        <p:nvSpPr>
          <p:cNvPr id="36" name="テキスト プレースホルダー 33"/>
          <p:cNvSpPr>
            <a:spLocks noGrp="1"/>
          </p:cNvSpPr>
          <p:nvPr>
            <p:ph type="body" sz="quarter" idx="12" hasCustomPrompt="1"/>
          </p:nvPr>
        </p:nvSpPr>
        <p:spPr>
          <a:xfrm>
            <a:off x="210409" y="10334112"/>
            <a:ext cx="7213087" cy="330313"/>
          </a:xfrm>
        </p:spPr>
        <p:txBody>
          <a:bodyPr>
            <a:normAutofit/>
          </a:bodyPr>
          <a:lstStyle>
            <a:lvl1pPr marL="0" indent="0">
              <a:buNone/>
              <a:defRPr sz="1400" b="0" baseline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〇〇市〇〇町</a:t>
            </a:r>
            <a:r>
              <a:rPr kumimoji="1" lang="en-US" altLang="ja-JP" dirty="0"/>
              <a:t>XXXXX-XXXX</a:t>
            </a:r>
            <a:r>
              <a:rPr kumimoji="1" lang="ja-JP" altLang="en-US" dirty="0"/>
              <a:t>　営業時間  </a:t>
            </a:r>
            <a:r>
              <a:rPr kumimoji="1" lang="en-US" altLang="ja-JP" dirty="0"/>
              <a:t>00:00</a:t>
            </a:r>
            <a:r>
              <a:rPr kumimoji="1" lang="ja-JP" altLang="en-US" dirty="0"/>
              <a:t>～</a:t>
            </a:r>
            <a:r>
              <a:rPr kumimoji="1" lang="en-US" altLang="ja-JP" dirty="0"/>
              <a:t>00</a:t>
            </a:r>
            <a:r>
              <a:rPr kumimoji="1" lang="ja-JP" altLang="en-US" dirty="0"/>
              <a:t>：</a:t>
            </a:r>
            <a:r>
              <a:rPr kumimoji="1" lang="en-US" altLang="ja-JP" dirty="0"/>
              <a:t>00</a:t>
            </a:r>
            <a:r>
              <a:rPr kumimoji="1" lang="ja-JP" altLang="en-US" dirty="0"/>
              <a:t>　</a:t>
            </a:r>
            <a:r>
              <a:rPr kumimoji="1" lang="en-US" altLang="ja-JP" dirty="0"/>
              <a:t>http://XXXX_sample.aa.jp</a:t>
            </a:r>
            <a:endParaRPr kumimoji="1" lang="ja-JP" altLang="en-US" dirty="0"/>
          </a:p>
        </p:txBody>
      </p:sp>
      <p:sp>
        <p:nvSpPr>
          <p:cNvPr id="41" name="テキスト プレースホルダー 33"/>
          <p:cNvSpPr>
            <a:spLocks noGrp="1"/>
          </p:cNvSpPr>
          <p:nvPr>
            <p:ph type="body" sz="quarter" idx="14" hasCustomPrompt="1"/>
          </p:nvPr>
        </p:nvSpPr>
        <p:spPr>
          <a:xfrm>
            <a:off x="5357087" y="1983151"/>
            <a:ext cx="630101" cy="1004748"/>
          </a:xfrm>
        </p:spPr>
        <p:txBody>
          <a:bodyPr>
            <a:noAutofit/>
          </a:bodyPr>
          <a:lstStyle>
            <a:lvl1pPr marL="0" indent="0">
              <a:buNone/>
              <a:defRPr sz="6000" b="1">
                <a:solidFill>
                  <a:srgbClr val="FF317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1</a:t>
            </a:r>
            <a:endParaRPr kumimoji="1" lang="ja-JP" altLang="en-US" dirty="0"/>
          </a:p>
        </p:txBody>
      </p:sp>
      <p:sp>
        <p:nvSpPr>
          <p:cNvPr id="64" name="テキスト プレースホルダー 33"/>
          <p:cNvSpPr>
            <a:spLocks noGrp="1"/>
          </p:cNvSpPr>
          <p:nvPr>
            <p:ph type="body" sz="quarter" idx="16" hasCustomPrompt="1"/>
          </p:nvPr>
        </p:nvSpPr>
        <p:spPr>
          <a:xfrm>
            <a:off x="6487387" y="1983151"/>
            <a:ext cx="630101" cy="1004748"/>
          </a:xfrm>
        </p:spPr>
        <p:txBody>
          <a:bodyPr>
            <a:noAutofit/>
          </a:bodyPr>
          <a:lstStyle>
            <a:lvl1pPr marL="0" indent="0">
              <a:buNone/>
              <a:defRPr sz="6000" b="1">
                <a:solidFill>
                  <a:srgbClr val="FF317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6</a:t>
            </a:r>
            <a:endParaRPr kumimoji="1" lang="ja-JP" altLang="en-US" dirty="0"/>
          </a:p>
        </p:txBody>
      </p:sp>
      <p:sp>
        <p:nvSpPr>
          <p:cNvPr id="74" name="図プレースホルダー 73"/>
          <p:cNvSpPr>
            <a:spLocks noGrp="1"/>
          </p:cNvSpPr>
          <p:nvPr>
            <p:ph type="pic" sz="quarter" idx="19" hasCustomPrompt="1"/>
          </p:nvPr>
        </p:nvSpPr>
        <p:spPr>
          <a:xfrm>
            <a:off x="1" y="4654675"/>
            <a:ext cx="2521901" cy="2074506"/>
          </a:xfrm>
          <a:blipFill dpi="0" rotWithShape="1">
            <a:blip r:embed="rId2"/>
            <a:srcRect/>
            <a:tile tx="0" ty="0" sx="100000" sy="100000" flip="none" algn="ctr"/>
          </a:blipFill>
        </p:spPr>
        <p:txBody>
          <a:bodyPr tIns="252000">
            <a:normAutofit/>
          </a:bodyPr>
          <a:lstStyle>
            <a:lvl1pPr marL="0" indent="0" algn="ctr">
              <a:buNone/>
              <a:defRPr sz="140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 dirty="0"/>
              <a:t>写真を追加する</a:t>
            </a:r>
          </a:p>
        </p:txBody>
      </p:sp>
      <p:sp>
        <p:nvSpPr>
          <p:cNvPr id="52" name="図プレースホルダー 73"/>
          <p:cNvSpPr>
            <a:spLocks noGrp="1"/>
          </p:cNvSpPr>
          <p:nvPr>
            <p:ph type="pic" sz="quarter" idx="22" hasCustomPrompt="1"/>
          </p:nvPr>
        </p:nvSpPr>
        <p:spPr>
          <a:xfrm>
            <a:off x="2520394" y="4654675"/>
            <a:ext cx="2521901" cy="2074506"/>
          </a:xfrm>
          <a:blipFill dpi="0" rotWithShape="1">
            <a:blip r:embed="rId3"/>
            <a:srcRect/>
            <a:tile tx="0" ty="0" sx="100000" sy="100000" flip="none" algn="ctr"/>
          </a:blipFill>
        </p:spPr>
        <p:txBody>
          <a:bodyPr tIns="252000">
            <a:normAutofit/>
          </a:bodyPr>
          <a:lstStyle>
            <a:lvl1pPr marL="0" indent="0" algn="ctr">
              <a:buNone/>
              <a:defRPr sz="140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 dirty="0"/>
              <a:t>写真を追加する</a:t>
            </a:r>
          </a:p>
        </p:txBody>
      </p:sp>
      <p:sp>
        <p:nvSpPr>
          <p:cNvPr id="53" name="図プレースホルダー 73"/>
          <p:cNvSpPr>
            <a:spLocks noGrp="1"/>
          </p:cNvSpPr>
          <p:nvPr>
            <p:ph type="pic" sz="quarter" idx="23" hasCustomPrompt="1"/>
          </p:nvPr>
        </p:nvSpPr>
        <p:spPr>
          <a:xfrm>
            <a:off x="5039280" y="4654675"/>
            <a:ext cx="2521901" cy="2074506"/>
          </a:xfrm>
          <a:blipFill dpi="0" rotWithShape="1">
            <a:blip r:embed="rId2"/>
            <a:srcRect/>
            <a:tile tx="0" ty="0" sx="100000" sy="100000" flip="none" algn="ctr"/>
          </a:blipFill>
        </p:spPr>
        <p:txBody>
          <a:bodyPr tIns="252000">
            <a:normAutofit/>
          </a:bodyPr>
          <a:lstStyle>
            <a:lvl1pPr marL="0" indent="0" algn="ctr">
              <a:buNone/>
              <a:defRPr sz="140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 dirty="0"/>
              <a:t>写真を追加する</a:t>
            </a:r>
          </a:p>
        </p:txBody>
      </p:sp>
      <p:sp>
        <p:nvSpPr>
          <p:cNvPr id="77" name="テキスト プレースホルダー 33"/>
          <p:cNvSpPr>
            <a:spLocks noGrp="1"/>
          </p:cNvSpPr>
          <p:nvPr>
            <p:ph type="body" sz="quarter" idx="20" hasCustomPrompt="1"/>
          </p:nvPr>
        </p:nvSpPr>
        <p:spPr>
          <a:xfrm>
            <a:off x="777940" y="6019723"/>
            <a:ext cx="1729476" cy="370417"/>
          </a:xfrm>
        </p:spPr>
        <p:txBody>
          <a:bodyPr>
            <a:normAutofit/>
          </a:bodyPr>
          <a:lstStyle>
            <a:lvl1pPr marL="0" indent="0" algn="r">
              <a:buNone/>
              <a:defRPr sz="1200" b="1">
                <a:solidFill>
                  <a:schemeClr val="tx1"/>
                </a:solidFill>
                <a:effectLst>
                  <a:glow rad="101600">
                    <a:schemeClr val="bg1">
                      <a:alpha val="70000"/>
                    </a:schemeClr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商品名を入れましょう</a:t>
            </a:r>
          </a:p>
        </p:txBody>
      </p:sp>
      <p:sp>
        <p:nvSpPr>
          <p:cNvPr id="78" name="テキスト プレースホルダー 33"/>
          <p:cNvSpPr>
            <a:spLocks noGrp="1"/>
          </p:cNvSpPr>
          <p:nvPr>
            <p:ph type="body" sz="quarter" idx="21" hasCustomPrompt="1"/>
          </p:nvPr>
        </p:nvSpPr>
        <p:spPr>
          <a:xfrm>
            <a:off x="90154" y="6131052"/>
            <a:ext cx="2078306" cy="665459"/>
          </a:xfr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rgbClr val="D20000"/>
                </a:solidFill>
                <a:effectLst>
                  <a:glow rad="101600">
                    <a:schemeClr val="bg1"/>
                  </a:glow>
                </a:effectLst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,000</a:t>
            </a:r>
            <a:endParaRPr kumimoji="1" lang="ja-JP" altLang="en-US" dirty="0"/>
          </a:p>
        </p:txBody>
      </p:sp>
      <p:sp>
        <p:nvSpPr>
          <p:cNvPr id="55" name="図プレースホルダー 73"/>
          <p:cNvSpPr>
            <a:spLocks noGrp="1"/>
          </p:cNvSpPr>
          <p:nvPr>
            <p:ph type="pic" sz="quarter" idx="24" hasCustomPrompt="1"/>
          </p:nvPr>
        </p:nvSpPr>
        <p:spPr>
          <a:xfrm>
            <a:off x="1" y="6729181"/>
            <a:ext cx="2521901" cy="2074506"/>
          </a:xfrm>
          <a:blipFill dpi="0" rotWithShape="1">
            <a:blip r:embed="rId3"/>
            <a:srcRect/>
            <a:tile tx="0" ty="0" sx="100000" sy="100000" flip="none" algn="ctr"/>
          </a:blipFill>
        </p:spPr>
        <p:txBody>
          <a:bodyPr tIns="252000">
            <a:normAutofit/>
          </a:bodyPr>
          <a:lstStyle>
            <a:lvl1pPr marL="0" indent="0" algn="ctr">
              <a:buNone/>
              <a:defRPr sz="140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 dirty="0"/>
              <a:t>写真を追加する</a:t>
            </a:r>
          </a:p>
        </p:txBody>
      </p:sp>
      <p:sp>
        <p:nvSpPr>
          <p:cNvPr id="56" name="図プレースホルダー 73"/>
          <p:cNvSpPr>
            <a:spLocks noGrp="1"/>
          </p:cNvSpPr>
          <p:nvPr>
            <p:ph type="pic" sz="quarter" idx="25" hasCustomPrompt="1"/>
          </p:nvPr>
        </p:nvSpPr>
        <p:spPr>
          <a:xfrm>
            <a:off x="2520394" y="6729181"/>
            <a:ext cx="2521901" cy="2074506"/>
          </a:xfrm>
          <a:blipFill dpi="0" rotWithShape="1">
            <a:blip r:embed="rId2"/>
            <a:srcRect/>
            <a:tile tx="0" ty="0" sx="100000" sy="100000" flip="none" algn="ctr"/>
          </a:blipFill>
        </p:spPr>
        <p:txBody>
          <a:bodyPr tIns="252000">
            <a:normAutofit/>
          </a:bodyPr>
          <a:lstStyle>
            <a:lvl1pPr marL="0" indent="0" algn="ctr">
              <a:buNone/>
              <a:defRPr sz="140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 dirty="0"/>
              <a:t>写真を追加する</a:t>
            </a:r>
          </a:p>
        </p:txBody>
      </p:sp>
      <p:sp>
        <p:nvSpPr>
          <p:cNvPr id="57" name="図プレースホルダー 73"/>
          <p:cNvSpPr>
            <a:spLocks noGrp="1"/>
          </p:cNvSpPr>
          <p:nvPr>
            <p:ph type="pic" sz="quarter" idx="26" hasCustomPrompt="1"/>
          </p:nvPr>
        </p:nvSpPr>
        <p:spPr>
          <a:xfrm>
            <a:off x="5039280" y="6729181"/>
            <a:ext cx="2521901" cy="2074506"/>
          </a:xfrm>
          <a:blipFill dpi="0" rotWithShape="1">
            <a:blip r:embed="rId3"/>
            <a:srcRect/>
            <a:tile tx="0" ty="0" sx="100000" sy="100000" flip="none" algn="ctr"/>
          </a:blipFill>
        </p:spPr>
        <p:txBody>
          <a:bodyPr tIns="252000">
            <a:normAutofit/>
          </a:bodyPr>
          <a:lstStyle>
            <a:lvl1pPr marL="0" indent="0" algn="ctr">
              <a:buNone/>
              <a:defRPr sz="140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 dirty="0"/>
              <a:t>写真を追加する</a:t>
            </a:r>
          </a:p>
        </p:txBody>
      </p:sp>
      <p:sp>
        <p:nvSpPr>
          <p:cNvPr id="62" name="テキスト プレースホルダー 33"/>
          <p:cNvSpPr>
            <a:spLocks noGrp="1"/>
          </p:cNvSpPr>
          <p:nvPr>
            <p:ph type="body" sz="quarter" idx="28" hasCustomPrompt="1"/>
          </p:nvPr>
        </p:nvSpPr>
        <p:spPr>
          <a:xfrm>
            <a:off x="3305240" y="6019723"/>
            <a:ext cx="1729476" cy="370417"/>
          </a:xfrm>
        </p:spPr>
        <p:txBody>
          <a:bodyPr>
            <a:normAutofit/>
          </a:bodyPr>
          <a:lstStyle>
            <a:lvl1pPr marL="0" indent="0" algn="r">
              <a:buNone/>
              <a:defRPr sz="1200" b="1">
                <a:solidFill>
                  <a:schemeClr val="tx1"/>
                </a:solidFill>
                <a:effectLst>
                  <a:glow rad="101600">
                    <a:schemeClr val="bg1">
                      <a:alpha val="70000"/>
                    </a:schemeClr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商品名を入れましょう</a:t>
            </a:r>
          </a:p>
        </p:txBody>
      </p:sp>
      <p:sp>
        <p:nvSpPr>
          <p:cNvPr id="63" name="テキスト プレースホルダー 33"/>
          <p:cNvSpPr>
            <a:spLocks noGrp="1"/>
          </p:cNvSpPr>
          <p:nvPr>
            <p:ph type="body" sz="quarter" idx="29" hasCustomPrompt="1"/>
          </p:nvPr>
        </p:nvSpPr>
        <p:spPr>
          <a:xfrm>
            <a:off x="2617454" y="6131052"/>
            <a:ext cx="2078306" cy="665459"/>
          </a:xfr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rgbClr val="D20000"/>
                </a:solidFill>
                <a:effectLst>
                  <a:glow rad="101600">
                    <a:schemeClr val="bg1"/>
                  </a:glow>
                </a:effectLst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,000</a:t>
            </a:r>
            <a:endParaRPr kumimoji="1" lang="ja-JP" altLang="en-US" dirty="0"/>
          </a:p>
        </p:txBody>
      </p:sp>
      <p:sp>
        <p:nvSpPr>
          <p:cNvPr id="70" name="テキスト プレースホルダー 33"/>
          <p:cNvSpPr>
            <a:spLocks noGrp="1"/>
          </p:cNvSpPr>
          <p:nvPr>
            <p:ph type="body" sz="quarter" idx="30" hasCustomPrompt="1"/>
          </p:nvPr>
        </p:nvSpPr>
        <p:spPr>
          <a:xfrm>
            <a:off x="5842700" y="6019723"/>
            <a:ext cx="1729476" cy="370417"/>
          </a:xfrm>
        </p:spPr>
        <p:txBody>
          <a:bodyPr>
            <a:normAutofit/>
          </a:bodyPr>
          <a:lstStyle>
            <a:lvl1pPr marL="0" indent="0" algn="r">
              <a:buNone/>
              <a:defRPr sz="1200" b="1">
                <a:solidFill>
                  <a:schemeClr val="tx1"/>
                </a:solidFill>
                <a:effectLst>
                  <a:glow rad="101600">
                    <a:schemeClr val="bg1">
                      <a:alpha val="70000"/>
                    </a:schemeClr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商品名を入れましょう</a:t>
            </a:r>
          </a:p>
        </p:txBody>
      </p:sp>
      <p:sp>
        <p:nvSpPr>
          <p:cNvPr id="71" name="テキスト プレースホルダー 33"/>
          <p:cNvSpPr>
            <a:spLocks noGrp="1"/>
          </p:cNvSpPr>
          <p:nvPr>
            <p:ph type="body" sz="quarter" idx="31" hasCustomPrompt="1"/>
          </p:nvPr>
        </p:nvSpPr>
        <p:spPr>
          <a:xfrm>
            <a:off x="5154914" y="6131052"/>
            <a:ext cx="2078306" cy="665459"/>
          </a:xfr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rgbClr val="D20000"/>
                </a:solidFill>
                <a:effectLst>
                  <a:glow rad="101600">
                    <a:schemeClr val="bg1"/>
                  </a:glow>
                </a:effectLst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,000</a:t>
            </a:r>
            <a:endParaRPr kumimoji="1" lang="ja-JP" altLang="en-US" dirty="0"/>
          </a:p>
        </p:txBody>
      </p:sp>
      <p:sp>
        <p:nvSpPr>
          <p:cNvPr id="73" name="テキスト プレースホルダー 33"/>
          <p:cNvSpPr>
            <a:spLocks noGrp="1"/>
          </p:cNvSpPr>
          <p:nvPr>
            <p:ph type="body" sz="quarter" idx="32" hasCustomPrompt="1"/>
          </p:nvPr>
        </p:nvSpPr>
        <p:spPr>
          <a:xfrm>
            <a:off x="777940" y="8110143"/>
            <a:ext cx="1729476" cy="370417"/>
          </a:xfrm>
        </p:spPr>
        <p:txBody>
          <a:bodyPr>
            <a:normAutofit/>
          </a:bodyPr>
          <a:lstStyle>
            <a:lvl1pPr marL="0" indent="0" algn="r">
              <a:buNone/>
              <a:defRPr sz="1200" b="1">
                <a:solidFill>
                  <a:schemeClr val="tx1"/>
                </a:solidFill>
                <a:effectLst>
                  <a:glow rad="101600">
                    <a:schemeClr val="bg1">
                      <a:alpha val="70000"/>
                    </a:schemeClr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商品名を入れましょう</a:t>
            </a:r>
          </a:p>
        </p:txBody>
      </p:sp>
      <p:sp>
        <p:nvSpPr>
          <p:cNvPr id="75" name="テキスト プレースホルダー 33"/>
          <p:cNvSpPr>
            <a:spLocks noGrp="1"/>
          </p:cNvSpPr>
          <p:nvPr>
            <p:ph type="body" sz="quarter" idx="33" hasCustomPrompt="1"/>
          </p:nvPr>
        </p:nvSpPr>
        <p:spPr>
          <a:xfrm>
            <a:off x="90154" y="8221472"/>
            <a:ext cx="2078306" cy="665459"/>
          </a:xfr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rgbClr val="D20000"/>
                </a:solidFill>
                <a:effectLst>
                  <a:glow rad="101600">
                    <a:schemeClr val="bg1"/>
                  </a:glow>
                </a:effectLst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,000</a:t>
            </a:r>
            <a:endParaRPr kumimoji="1" lang="ja-JP" altLang="en-US" dirty="0"/>
          </a:p>
        </p:txBody>
      </p:sp>
      <p:sp>
        <p:nvSpPr>
          <p:cNvPr id="80" name="テキスト プレースホルダー 33"/>
          <p:cNvSpPr>
            <a:spLocks noGrp="1"/>
          </p:cNvSpPr>
          <p:nvPr>
            <p:ph type="body" sz="quarter" idx="34" hasCustomPrompt="1"/>
          </p:nvPr>
        </p:nvSpPr>
        <p:spPr>
          <a:xfrm>
            <a:off x="3305240" y="8110143"/>
            <a:ext cx="1729476" cy="370417"/>
          </a:xfrm>
        </p:spPr>
        <p:txBody>
          <a:bodyPr>
            <a:normAutofit/>
          </a:bodyPr>
          <a:lstStyle>
            <a:lvl1pPr marL="0" indent="0" algn="r">
              <a:buNone/>
              <a:defRPr sz="1200" b="1">
                <a:solidFill>
                  <a:schemeClr val="tx1"/>
                </a:solidFill>
                <a:effectLst>
                  <a:glow rad="101600">
                    <a:schemeClr val="bg1">
                      <a:alpha val="70000"/>
                    </a:schemeClr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商品名を入れましょう</a:t>
            </a:r>
          </a:p>
        </p:txBody>
      </p:sp>
      <p:sp>
        <p:nvSpPr>
          <p:cNvPr id="81" name="テキスト プレースホルダー 33"/>
          <p:cNvSpPr>
            <a:spLocks noGrp="1"/>
          </p:cNvSpPr>
          <p:nvPr>
            <p:ph type="body" sz="quarter" idx="35" hasCustomPrompt="1"/>
          </p:nvPr>
        </p:nvSpPr>
        <p:spPr>
          <a:xfrm>
            <a:off x="2617454" y="8221472"/>
            <a:ext cx="2078306" cy="665459"/>
          </a:xfr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rgbClr val="D20000"/>
                </a:solidFill>
                <a:effectLst>
                  <a:glow rad="101600">
                    <a:schemeClr val="bg1"/>
                  </a:glow>
                </a:effectLst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,000</a:t>
            </a:r>
            <a:endParaRPr kumimoji="1" lang="ja-JP" altLang="en-US" dirty="0"/>
          </a:p>
        </p:txBody>
      </p:sp>
      <p:sp>
        <p:nvSpPr>
          <p:cNvPr id="83" name="テキスト プレースホルダー 33"/>
          <p:cNvSpPr>
            <a:spLocks noGrp="1"/>
          </p:cNvSpPr>
          <p:nvPr>
            <p:ph type="body" sz="quarter" idx="36" hasCustomPrompt="1"/>
          </p:nvPr>
        </p:nvSpPr>
        <p:spPr>
          <a:xfrm>
            <a:off x="5842700" y="8110143"/>
            <a:ext cx="1729476" cy="370417"/>
          </a:xfrm>
        </p:spPr>
        <p:txBody>
          <a:bodyPr>
            <a:normAutofit/>
          </a:bodyPr>
          <a:lstStyle>
            <a:lvl1pPr marL="0" indent="0" algn="r">
              <a:buNone/>
              <a:defRPr sz="1200" b="1">
                <a:solidFill>
                  <a:schemeClr val="tx1"/>
                </a:solidFill>
                <a:effectLst>
                  <a:glow rad="101600">
                    <a:schemeClr val="bg1">
                      <a:alpha val="70000"/>
                    </a:schemeClr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商品名を入れましょう</a:t>
            </a:r>
          </a:p>
        </p:txBody>
      </p:sp>
      <p:sp>
        <p:nvSpPr>
          <p:cNvPr id="84" name="テキスト プレースホルダー 33"/>
          <p:cNvSpPr>
            <a:spLocks noGrp="1"/>
          </p:cNvSpPr>
          <p:nvPr>
            <p:ph type="body" sz="quarter" idx="37" hasCustomPrompt="1"/>
          </p:nvPr>
        </p:nvSpPr>
        <p:spPr>
          <a:xfrm>
            <a:off x="5154914" y="8221472"/>
            <a:ext cx="2078306" cy="665459"/>
          </a:xfrm>
        </p:spPr>
        <p:txBody>
          <a:bodyPr>
            <a:noAutofit/>
          </a:bodyPr>
          <a:lstStyle>
            <a:lvl1pPr marL="0" indent="0" algn="r">
              <a:buNone/>
              <a:defRPr sz="4000" b="1">
                <a:solidFill>
                  <a:srgbClr val="D20000"/>
                </a:solidFill>
                <a:effectLst>
                  <a:glow rad="101600">
                    <a:schemeClr val="bg1"/>
                  </a:glow>
                </a:effectLst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,000</a:t>
            </a:r>
            <a:endParaRPr kumimoji="1" lang="ja-JP" altLang="en-US" dirty="0"/>
          </a:p>
        </p:txBody>
      </p:sp>
      <p:sp>
        <p:nvSpPr>
          <p:cNvPr id="60" name="テキスト プレースホルダー 33"/>
          <p:cNvSpPr>
            <a:spLocks noGrp="1"/>
          </p:cNvSpPr>
          <p:nvPr>
            <p:ph type="body" sz="quarter" idx="27" hasCustomPrompt="1"/>
          </p:nvPr>
        </p:nvSpPr>
        <p:spPr>
          <a:xfrm>
            <a:off x="188486" y="8891991"/>
            <a:ext cx="7213088" cy="468715"/>
          </a:xfrm>
        </p:spPr>
        <p:txBody>
          <a:bodyPr>
            <a:no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たくさんのお買い得商品をご用意してお待ちしています！</a:t>
            </a:r>
          </a:p>
        </p:txBody>
      </p:sp>
      <p:sp>
        <p:nvSpPr>
          <p:cNvPr id="39" name="テキスト プレースホルダー 33"/>
          <p:cNvSpPr>
            <a:spLocks noGrp="1"/>
          </p:cNvSpPr>
          <p:nvPr>
            <p:ph type="body" sz="quarter" idx="13" hasCustomPrompt="1"/>
          </p:nvPr>
        </p:nvSpPr>
        <p:spPr>
          <a:xfrm>
            <a:off x="4848585" y="2076599"/>
            <a:ext cx="557538" cy="81554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tx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5</a:t>
            </a:r>
            <a:endParaRPr kumimoji="1" lang="ja-JP" altLang="en-US" dirty="0"/>
          </a:p>
        </p:txBody>
      </p:sp>
      <p:sp>
        <p:nvSpPr>
          <p:cNvPr id="45" name="テキスト プレースホルダー 33"/>
          <p:cNvSpPr>
            <a:spLocks noGrp="1"/>
          </p:cNvSpPr>
          <p:nvPr>
            <p:ph type="body" sz="quarter" idx="15" hasCustomPrompt="1"/>
          </p:nvPr>
        </p:nvSpPr>
        <p:spPr>
          <a:xfrm>
            <a:off x="5856103" y="2406612"/>
            <a:ext cx="338180" cy="335798"/>
          </a:xfrm>
        </p:spPr>
        <p:txBody>
          <a:bodyPr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日</a:t>
            </a:r>
          </a:p>
        </p:txBody>
      </p:sp>
      <p:sp>
        <p:nvSpPr>
          <p:cNvPr id="66" name="テキスト プレースホルダー 33"/>
          <p:cNvSpPr>
            <a:spLocks noGrp="1"/>
          </p:cNvSpPr>
          <p:nvPr>
            <p:ph type="body" sz="quarter" idx="17" hasCustomPrompt="1"/>
          </p:nvPr>
        </p:nvSpPr>
        <p:spPr>
          <a:xfrm>
            <a:off x="6986403" y="2406612"/>
            <a:ext cx="338180" cy="335798"/>
          </a:xfrm>
        </p:spPr>
        <p:txBody>
          <a:bodyPr>
            <a:norm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日</a:t>
            </a:r>
          </a:p>
        </p:txBody>
      </p:sp>
      <p:sp>
        <p:nvSpPr>
          <p:cNvPr id="68" name="テキスト プレースホルダー 33"/>
          <p:cNvSpPr>
            <a:spLocks noGrp="1"/>
          </p:cNvSpPr>
          <p:nvPr>
            <p:ph type="body" sz="quarter" idx="18" hasCustomPrompt="1"/>
          </p:nvPr>
        </p:nvSpPr>
        <p:spPr>
          <a:xfrm>
            <a:off x="5490289" y="544522"/>
            <a:ext cx="1609971" cy="1342829"/>
          </a:xfrm>
        </p:spPr>
        <p:txBody>
          <a:bodyPr>
            <a:normAutofit/>
          </a:bodyPr>
          <a:lstStyle>
            <a:lvl1pPr marL="0" indent="0" algn="ctr">
              <a:buNone/>
              <a:defRPr sz="2000" b="1">
                <a:solidFill>
                  <a:srgbClr val="FF317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ここにキャッチコピーを入れましょう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38" hasCustomPrompt="1"/>
          </p:nvPr>
        </p:nvSpPr>
        <p:spPr>
          <a:xfrm>
            <a:off x="1692567" y="5366259"/>
            <a:ext cx="555223" cy="425723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Segoe" panose="020B0502040504020203" pitchFamily="34" charset="0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54" name="テキスト プレースホルダー 3"/>
          <p:cNvSpPr>
            <a:spLocks noGrp="1"/>
          </p:cNvSpPr>
          <p:nvPr>
            <p:ph type="body" sz="quarter" idx="39" hasCustomPrompt="1"/>
          </p:nvPr>
        </p:nvSpPr>
        <p:spPr>
          <a:xfrm>
            <a:off x="4232567" y="5366259"/>
            <a:ext cx="555223" cy="425723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Segoe" panose="020B0502040504020203" pitchFamily="34" charset="0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86" name="テキスト プレースホルダー 3"/>
          <p:cNvSpPr>
            <a:spLocks noGrp="1"/>
          </p:cNvSpPr>
          <p:nvPr>
            <p:ph type="body" sz="quarter" idx="40" hasCustomPrompt="1"/>
          </p:nvPr>
        </p:nvSpPr>
        <p:spPr>
          <a:xfrm>
            <a:off x="6770027" y="5366259"/>
            <a:ext cx="555223" cy="425723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Segoe" panose="020B0502040504020203" pitchFamily="34" charset="0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92" name="テキスト プレースホルダー 3"/>
          <p:cNvSpPr>
            <a:spLocks noGrp="1"/>
          </p:cNvSpPr>
          <p:nvPr>
            <p:ph type="body" sz="quarter" idx="41" hasCustomPrompt="1"/>
          </p:nvPr>
        </p:nvSpPr>
        <p:spPr>
          <a:xfrm>
            <a:off x="1692567" y="7454139"/>
            <a:ext cx="555223" cy="425723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Segoe" panose="020B0502040504020203" pitchFamily="34" charset="0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98" name="テキスト プレースホルダー 3"/>
          <p:cNvSpPr>
            <a:spLocks noGrp="1"/>
          </p:cNvSpPr>
          <p:nvPr>
            <p:ph type="body" sz="quarter" idx="42" hasCustomPrompt="1"/>
          </p:nvPr>
        </p:nvSpPr>
        <p:spPr>
          <a:xfrm>
            <a:off x="4232567" y="7454139"/>
            <a:ext cx="555223" cy="425723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Segoe" panose="020B0502040504020203" pitchFamily="34" charset="0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104" name="テキスト プレースホルダー 3"/>
          <p:cNvSpPr>
            <a:spLocks noGrp="1"/>
          </p:cNvSpPr>
          <p:nvPr>
            <p:ph type="body" sz="quarter" idx="43" hasCustomPrompt="1"/>
          </p:nvPr>
        </p:nvSpPr>
        <p:spPr>
          <a:xfrm>
            <a:off x="6770027" y="7454139"/>
            <a:ext cx="555223" cy="425723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Segoe" panose="020B0502040504020203" pitchFamily="34" charset="0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687402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30805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09893" y="569240"/>
            <a:ext cx="1630055" cy="9060817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728" y="569240"/>
            <a:ext cx="4795669" cy="9060817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893369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16" y="2478"/>
          <a:ext cx="1312" cy="24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6" y="2478"/>
                        <a:ext cx="1312" cy="24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562080" cy="1070115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692340" y="7411423"/>
            <a:ext cx="3575544" cy="393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1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692340" y="7804743"/>
            <a:ext cx="3575544" cy="393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1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692340" y="8198063"/>
            <a:ext cx="3575544" cy="3933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1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692340" y="4237941"/>
            <a:ext cx="5100679" cy="25089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592">
                <a:solidFill>
                  <a:schemeClr val="bg1"/>
                </a:solidFill>
                <a:latin typeface="+mj-lt"/>
              </a:defRPr>
            </a:lvl1pPr>
            <a:lvl2pPr>
              <a:defRPr sz="6146"/>
            </a:lvl2pPr>
            <a:lvl3pPr>
              <a:defRPr sz="6146"/>
            </a:lvl3pPr>
            <a:lvl4pPr>
              <a:defRPr sz="6146"/>
            </a:lvl4pPr>
            <a:lvl5pPr>
              <a:defRPr sz="6146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</p:spTree>
    <p:extLst>
      <p:ext uri="{BB962C8B-B14F-4D97-AF65-F5344CB8AC3E}">
        <p14:creationId xmlns:p14="http://schemas.microsoft.com/office/powerpoint/2010/main" val="3107010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13" y="3301"/>
          <a:ext cx="1313" cy="3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13" y="3301"/>
                        <a:ext cx="1313" cy="33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1244" cy="329994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7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886" y="654418"/>
            <a:ext cx="6783904" cy="79942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spcBef>
                <a:spcPts val="0"/>
              </a:spcBef>
              <a:buFontTx/>
              <a:buNone/>
              <a:defRPr sz="3461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87886" y="1478613"/>
            <a:ext cx="6783904" cy="5837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FontTx/>
              <a:buNone/>
              <a:defRPr sz="2296">
                <a:solidFill>
                  <a:srgbClr val="0B5ED7"/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86574" y="9865472"/>
            <a:ext cx="6160434" cy="58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272">
                <a:solidFill>
                  <a:schemeClr val="accent1">
                    <a:lumMod val="50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Reference</a:t>
            </a:r>
            <a:endParaRPr lang="de-DE" dirty="0"/>
          </a:p>
        </p:txBody>
      </p:sp>
      <p:sp>
        <p:nvSpPr>
          <p:cNvPr id="13" name="コンテンツ プレースホルダー 2"/>
          <p:cNvSpPr>
            <a:spLocks noGrp="1"/>
          </p:cNvSpPr>
          <p:nvPr>
            <p:ph sz="quarter" idx="15"/>
          </p:nvPr>
        </p:nvSpPr>
        <p:spPr>
          <a:xfrm>
            <a:off x="382314" y="2380287"/>
            <a:ext cx="6795080" cy="7118604"/>
          </a:xfrm>
          <a:prstGeom prst="rect">
            <a:avLst/>
          </a:prstGeom>
        </p:spPr>
        <p:txBody>
          <a:bodyPr vert="horz" lIns="294791" tIns="147392" rIns="294791" bIns="147392"/>
          <a:lstStyle>
            <a:lvl1pPr>
              <a:defRPr sz="2296"/>
            </a:lvl1pPr>
            <a:lvl2pPr>
              <a:defRPr sz="2049"/>
            </a:lvl2pPr>
            <a:lvl3pPr>
              <a:defRPr sz="1801"/>
            </a:lvl3pPr>
            <a:lvl4pPr>
              <a:defRPr sz="1660"/>
            </a:lvl4pPr>
            <a:lvl5pPr>
              <a:defRPr sz="166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589090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297109" y="3816164"/>
            <a:ext cx="946201" cy="30303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3077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テキスト プレースホルダー 3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10411" y="9127227"/>
            <a:ext cx="3097927" cy="708229"/>
          </a:xfrm>
        </p:spPr>
        <p:txBody>
          <a:bodyPr>
            <a:noAutofit/>
          </a:bodyPr>
          <a:lstStyle>
            <a:lvl1pPr marL="0" indent="0">
              <a:buNone/>
              <a:defRPr sz="3800" b="1">
                <a:solidFill>
                  <a:srgbClr val="37587D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舞黒町商店街</a:t>
            </a:r>
          </a:p>
        </p:txBody>
      </p:sp>
      <p:sp>
        <p:nvSpPr>
          <p:cNvPr id="16" name="テキスト プレースホルダー 3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75513" y="9127228"/>
            <a:ext cx="3975405" cy="372846"/>
          </a:xfrm>
        </p:spPr>
        <p:txBody>
          <a:bodyPr>
            <a:noAutofit/>
          </a:bodyPr>
          <a:lstStyle>
            <a:lvl1pPr marL="0" indent="0">
              <a:buNone/>
              <a:defRPr sz="1600" b="1" baseline="0">
                <a:solidFill>
                  <a:srgbClr val="37587D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〇〇〇市〇〇〇町 </a:t>
            </a:r>
            <a:r>
              <a:rPr kumimoji="1" lang="en-US" altLang="ja-JP" dirty="0"/>
              <a:t>XXXXX-XXXX-XXX</a:t>
            </a:r>
            <a:endParaRPr kumimoji="1" lang="ja-JP" altLang="en-US" dirty="0"/>
          </a:p>
        </p:txBody>
      </p:sp>
      <p:sp>
        <p:nvSpPr>
          <p:cNvPr id="18" name="テキスト プレースホルダー 33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74883" y="9407005"/>
            <a:ext cx="3099585" cy="370672"/>
          </a:xfrm>
        </p:spPr>
        <p:txBody>
          <a:bodyPr>
            <a:noAutofit/>
          </a:bodyPr>
          <a:lstStyle>
            <a:lvl1pPr marL="0" indent="0" algn="l">
              <a:buNone/>
              <a:defRPr sz="1500" b="1" baseline="0">
                <a:solidFill>
                  <a:srgbClr val="37587D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http://XXXX_sample.aa.jp</a:t>
            </a:r>
            <a:endParaRPr kumimoji="1" lang="ja-JP" altLang="en-US" dirty="0"/>
          </a:p>
        </p:txBody>
      </p:sp>
      <p:sp>
        <p:nvSpPr>
          <p:cNvPr id="32" name="テキスト プレースホルダー 33"/>
          <p:cNvSpPr>
            <a:spLocks noGrp="1"/>
          </p:cNvSpPr>
          <p:nvPr>
            <p:ph type="body" sz="quarter" idx="17" hasCustomPrompt="1"/>
          </p:nvPr>
        </p:nvSpPr>
        <p:spPr>
          <a:xfrm>
            <a:off x="799908" y="3075041"/>
            <a:ext cx="1158580" cy="993668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5C2A08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34" name="テキスト プレースホルダー 33"/>
          <p:cNvSpPr>
            <a:spLocks noGrp="1"/>
          </p:cNvSpPr>
          <p:nvPr>
            <p:ph type="body" sz="quarter" idx="19" hasCustomPrompt="1"/>
          </p:nvPr>
        </p:nvSpPr>
        <p:spPr>
          <a:xfrm>
            <a:off x="161473" y="3083446"/>
            <a:ext cx="557538" cy="934887"/>
          </a:xfrm>
        </p:spPr>
        <p:txBody>
          <a:bodyPr>
            <a:noAutofit/>
          </a:bodyPr>
          <a:lstStyle>
            <a:lvl1pPr marL="0" indent="0">
              <a:buNone/>
              <a:defRPr sz="5500" b="1">
                <a:solidFill>
                  <a:srgbClr val="5C2A08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5</a:t>
            </a:r>
            <a:endParaRPr kumimoji="1" lang="ja-JP" altLang="en-US" dirty="0"/>
          </a:p>
        </p:txBody>
      </p:sp>
      <p:sp>
        <p:nvSpPr>
          <p:cNvPr id="37" name="テキスト プレースホルダー 33"/>
          <p:cNvSpPr>
            <a:spLocks noGrp="1"/>
          </p:cNvSpPr>
          <p:nvPr>
            <p:ph type="body" sz="quarter" idx="20" hasCustomPrompt="1"/>
          </p:nvPr>
        </p:nvSpPr>
        <p:spPr>
          <a:xfrm>
            <a:off x="2114195" y="3457261"/>
            <a:ext cx="338180" cy="346568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日</a:t>
            </a:r>
          </a:p>
        </p:txBody>
      </p:sp>
      <p:sp>
        <p:nvSpPr>
          <p:cNvPr id="74" name="テキスト プレースホルダー 33"/>
          <p:cNvSpPr>
            <a:spLocks noGrp="1"/>
          </p:cNvSpPr>
          <p:nvPr>
            <p:ph type="body" sz="quarter" idx="26" hasCustomPrompt="1"/>
          </p:nvPr>
        </p:nvSpPr>
        <p:spPr>
          <a:xfrm>
            <a:off x="4565037" y="3256252"/>
            <a:ext cx="1390878" cy="717233"/>
          </a:xfrm>
        </p:spPr>
        <p:txBody>
          <a:bodyPr>
            <a:noAutofit/>
          </a:bodyPr>
          <a:lstStyle>
            <a:lvl1pPr marL="0" indent="0" algn="l">
              <a:buNone/>
              <a:defRPr sz="4000" b="1">
                <a:solidFill>
                  <a:srgbClr val="5C2A08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:00</a:t>
            </a:r>
            <a:endParaRPr kumimoji="1" lang="ja-JP" altLang="en-US" dirty="0"/>
          </a:p>
        </p:txBody>
      </p:sp>
      <p:sp>
        <p:nvSpPr>
          <p:cNvPr id="75" name="テキスト プレースホルダー 33"/>
          <p:cNvSpPr>
            <a:spLocks noGrp="1"/>
          </p:cNvSpPr>
          <p:nvPr>
            <p:ph type="body" sz="quarter" idx="27" hasCustomPrompt="1"/>
          </p:nvPr>
        </p:nvSpPr>
        <p:spPr>
          <a:xfrm>
            <a:off x="2657528" y="3075041"/>
            <a:ext cx="1158580" cy="993668"/>
          </a:xfr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5C2A08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77" name="テキスト プレースホルダー 33"/>
          <p:cNvSpPr>
            <a:spLocks noGrp="1"/>
          </p:cNvSpPr>
          <p:nvPr>
            <p:ph type="body" sz="quarter" idx="28" hasCustomPrompt="1"/>
          </p:nvPr>
        </p:nvSpPr>
        <p:spPr>
          <a:xfrm>
            <a:off x="3971815" y="3457261"/>
            <a:ext cx="338180" cy="346568"/>
          </a:xfrm>
        </p:spPr>
        <p:txBody>
          <a:bodyPr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日</a:t>
            </a:r>
          </a:p>
        </p:txBody>
      </p:sp>
      <p:sp>
        <p:nvSpPr>
          <p:cNvPr id="79" name="テキスト プレースホルダー 33"/>
          <p:cNvSpPr>
            <a:spLocks noGrp="1"/>
          </p:cNvSpPr>
          <p:nvPr>
            <p:ph type="body" sz="quarter" idx="29" hasCustomPrompt="1"/>
          </p:nvPr>
        </p:nvSpPr>
        <p:spPr>
          <a:xfrm>
            <a:off x="6146187" y="3256252"/>
            <a:ext cx="1390878" cy="717233"/>
          </a:xfrm>
        </p:spPr>
        <p:txBody>
          <a:bodyPr>
            <a:noAutofit/>
          </a:bodyPr>
          <a:lstStyle>
            <a:lvl1pPr marL="0" indent="0" algn="l">
              <a:buNone/>
              <a:defRPr sz="4000" b="1">
                <a:solidFill>
                  <a:srgbClr val="5C2A08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:00</a:t>
            </a:r>
            <a:endParaRPr kumimoji="1" lang="ja-JP" altLang="en-US" dirty="0"/>
          </a:p>
        </p:txBody>
      </p:sp>
      <p:sp>
        <p:nvSpPr>
          <p:cNvPr id="86" name="テキスト プレースホルダー 85"/>
          <p:cNvSpPr>
            <a:spLocks noGrp="1"/>
          </p:cNvSpPr>
          <p:nvPr>
            <p:ph type="body" sz="quarter" idx="32" hasCustomPrompt="1"/>
          </p:nvPr>
        </p:nvSpPr>
        <p:spPr>
          <a:xfrm>
            <a:off x="208753" y="10283533"/>
            <a:ext cx="7142160" cy="391357"/>
          </a:xfrm>
        </p:spPr>
        <p:txBody>
          <a:bodyPr>
            <a:normAutofit/>
          </a:bodyPr>
          <a:lstStyle>
            <a:lvl1pPr marL="0" marR="0" indent="0" algn="ctr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1">
                <a:solidFill>
                  <a:srgbClr val="5C2A08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marR="0" lvl="0" indent="0" algn="ctr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◆主催：〇〇〇市　〇〇〇〇〇〇〇〇〇　◆お問い合わせ：</a:t>
            </a:r>
            <a:r>
              <a:rPr kumimoji="1" lang="en-US" altLang="ja-JP" dirty="0"/>
              <a:t>00-0000-0000</a:t>
            </a:r>
            <a:endParaRPr kumimoji="1" lang="ja-JP" altLang="en-US" dirty="0"/>
          </a:p>
          <a:p>
            <a:pPr lvl="0"/>
            <a:endParaRPr kumimoji="1" lang="ja-JP" altLang="en-US" dirty="0"/>
          </a:p>
        </p:txBody>
      </p:sp>
      <p:sp>
        <p:nvSpPr>
          <p:cNvPr id="87" name="テキスト プレースホルダー 33"/>
          <p:cNvSpPr>
            <a:spLocks noGrp="1"/>
          </p:cNvSpPr>
          <p:nvPr>
            <p:ph type="body" sz="quarter" idx="33" hasCustomPrompt="1"/>
          </p:nvPr>
        </p:nvSpPr>
        <p:spPr>
          <a:xfrm>
            <a:off x="198696" y="9763808"/>
            <a:ext cx="7152218" cy="372846"/>
          </a:xfrm>
        </p:spPr>
        <p:txBody>
          <a:bodyPr>
            <a:noAutofit/>
          </a:bodyPr>
          <a:lstStyle>
            <a:lvl1pPr marL="0" marR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baseline="0">
                <a:solidFill>
                  <a:srgbClr val="37587D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marR="0" lvl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ja-JP" dirty="0"/>
              <a:t>※</a:t>
            </a:r>
            <a:r>
              <a:rPr kumimoji="1" lang="ja-JP" altLang="en-US" dirty="0"/>
              <a:t>ここに注意事項を入れましょう。  </a:t>
            </a:r>
            <a:r>
              <a:rPr kumimoji="1" lang="en-US" altLang="ja-JP" dirty="0"/>
              <a:t>※</a:t>
            </a:r>
            <a:r>
              <a:rPr kumimoji="1" lang="ja-JP" altLang="en-US" dirty="0"/>
              <a:t>ここに注意事項を入れましょう。  </a:t>
            </a:r>
            <a:r>
              <a:rPr kumimoji="1" lang="en-US" altLang="ja-JP" dirty="0"/>
              <a:t>※</a:t>
            </a:r>
            <a:r>
              <a:rPr kumimoji="1" lang="ja-JP" altLang="en-US" dirty="0"/>
              <a:t>注意事項を入れましょう。</a:t>
            </a:r>
          </a:p>
        </p:txBody>
      </p:sp>
      <p:sp>
        <p:nvSpPr>
          <p:cNvPr id="88" name="テキスト プレースホルダー 33"/>
          <p:cNvSpPr>
            <a:spLocks noGrp="1"/>
          </p:cNvSpPr>
          <p:nvPr>
            <p:ph type="body" sz="quarter" idx="34" hasCustomPrompt="1"/>
          </p:nvPr>
        </p:nvSpPr>
        <p:spPr>
          <a:xfrm>
            <a:off x="111320" y="4099995"/>
            <a:ext cx="782198" cy="685919"/>
          </a:xfrm>
        </p:spPr>
        <p:txBody>
          <a:bodyPr>
            <a:no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108" name="テキスト プレースホルダー 33"/>
          <p:cNvSpPr>
            <a:spLocks noGrp="1"/>
          </p:cNvSpPr>
          <p:nvPr>
            <p:ph type="body" sz="quarter" idx="35" hasCustomPrompt="1"/>
          </p:nvPr>
        </p:nvSpPr>
        <p:spPr>
          <a:xfrm>
            <a:off x="2517943" y="4099995"/>
            <a:ext cx="782198" cy="685919"/>
          </a:xfrm>
        </p:spPr>
        <p:txBody>
          <a:bodyPr>
            <a:no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112" name="テキスト プレースホルダー 33"/>
          <p:cNvSpPr>
            <a:spLocks noGrp="1"/>
          </p:cNvSpPr>
          <p:nvPr>
            <p:ph type="body" sz="quarter" idx="36" hasCustomPrompt="1"/>
          </p:nvPr>
        </p:nvSpPr>
        <p:spPr>
          <a:xfrm>
            <a:off x="4924566" y="4099995"/>
            <a:ext cx="782198" cy="685919"/>
          </a:xfrm>
        </p:spPr>
        <p:txBody>
          <a:bodyPr>
            <a:no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</a:t>
            </a:r>
            <a:endParaRPr kumimoji="1" lang="ja-JP" altLang="en-US" dirty="0"/>
          </a:p>
        </p:txBody>
      </p:sp>
      <p:sp>
        <p:nvSpPr>
          <p:cNvPr id="114" name="テキスト プレースホルダー 33"/>
          <p:cNvSpPr>
            <a:spLocks noGrp="1"/>
          </p:cNvSpPr>
          <p:nvPr>
            <p:ph type="body" sz="quarter" idx="37" hasCustomPrompt="1"/>
          </p:nvPr>
        </p:nvSpPr>
        <p:spPr>
          <a:xfrm>
            <a:off x="571718" y="4491314"/>
            <a:ext cx="1855257" cy="823306"/>
          </a:xfrm>
        </p:spPr>
        <p:txBody>
          <a:bodyPr>
            <a:noAutofit/>
          </a:bodyPr>
          <a:lstStyle>
            <a:lvl1pPr marL="0" indent="0" algn="r">
              <a:buNone/>
              <a:defRPr sz="2500" b="1">
                <a:solidFill>
                  <a:srgbClr val="3B768D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イベント　のタイトル</a:t>
            </a:r>
          </a:p>
        </p:txBody>
      </p:sp>
      <p:sp>
        <p:nvSpPr>
          <p:cNvPr id="115" name="テキスト プレースホルダー 33"/>
          <p:cNvSpPr>
            <a:spLocks noGrp="1"/>
          </p:cNvSpPr>
          <p:nvPr>
            <p:ph type="body" sz="quarter" idx="38" hasCustomPrompt="1"/>
          </p:nvPr>
        </p:nvSpPr>
        <p:spPr>
          <a:xfrm>
            <a:off x="401172" y="5316622"/>
            <a:ext cx="2053271" cy="1457763"/>
          </a:xfrm>
        </p:spPr>
        <p:txBody>
          <a:bodyPr>
            <a:noAutofit/>
          </a:bodyPr>
          <a:lstStyle>
            <a:lvl1pPr marL="0" marR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>
                <a:solidFill>
                  <a:srgbClr val="5C2A08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marR="0" lvl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ここにコピーを入れましょう。ここにコピーを入れましょう。ここにコピーを入れましょう。</a:t>
            </a:r>
          </a:p>
          <a:p>
            <a:pPr lvl="0"/>
            <a:endParaRPr kumimoji="1" lang="ja-JP" altLang="en-US" dirty="0"/>
          </a:p>
        </p:txBody>
      </p:sp>
      <p:sp>
        <p:nvSpPr>
          <p:cNvPr id="116" name="テキスト プレースホルダー 33"/>
          <p:cNvSpPr>
            <a:spLocks noGrp="1"/>
          </p:cNvSpPr>
          <p:nvPr>
            <p:ph type="body" sz="quarter" idx="39" hasCustomPrompt="1"/>
          </p:nvPr>
        </p:nvSpPr>
        <p:spPr>
          <a:xfrm>
            <a:off x="2984718" y="4491314"/>
            <a:ext cx="1855257" cy="823306"/>
          </a:xfrm>
        </p:spPr>
        <p:txBody>
          <a:bodyPr>
            <a:noAutofit/>
          </a:bodyPr>
          <a:lstStyle>
            <a:lvl1pPr marL="0" indent="0" algn="r">
              <a:buNone/>
              <a:defRPr sz="2500" b="1">
                <a:solidFill>
                  <a:srgbClr val="CF4D72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イベント　のタイトル</a:t>
            </a:r>
          </a:p>
        </p:txBody>
      </p:sp>
      <p:sp>
        <p:nvSpPr>
          <p:cNvPr id="117" name="テキスト プレースホルダー 33"/>
          <p:cNvSpPr>
            <a:spLocks noGrp="1"/>
          </p:cNvSpPr>
          <p:nvPr>
            <p:ph type="body" sz="quarter" idx="40" hasCustomPrompt="1"/>
          </p:nvPr>
        </p:nvSpPr>
        <p:spPr>
          <a:xfrm>
            <a:off x="2814172" y="5316622"/>
            <a:ext cx="2053271" cy="1457763"/>
          </a:xfrm>
        </p:spPr>
        <p:txBody>
          <a:bodyPr>
            <a:noAutofit/>
          </a:bodyPr>
          <a:lstStyle>
            <a:lvl1pPr marL="0" marR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>
                <a:solidFill>
                  <a:srgbClr val="5C2A08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marR="0" lvl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ここにコピーを入れましょう。ここにコピーを入れましょう。ここにコピーを入れましょう。</a:t>
            </a:r>
          </a:p>
          <a:p>
            <a:pPr lvl="0"/>
            <a:endParaRPr kumimoji="1" lang="ja-JP" altLang="en-US" dirty="0"/>
          </a:p>
        </p:txBody>
      </p:sp>
      <p:sp>
        <p:nvSpPr>
          <p:cNvPr id="118" name="テキスト プレースホルダー 33"/>
          <p:cNvSpPr>
            <a:spLocks noGrp="1"/>
          </p:cNvSpPr>
          <p:nvPr>
            <p:ph type="body" sz="quarter" idx="41" hasCustomPrompt="1"/>
          </p:nvPr>
        </p:nvSpPr>
        <p:spPr>
          <a:xfrm>
            <a:off x="5396964" y="4491314"/>
            <a:ext cx="1855257" cy="823306"/>
          </a:xfrm>
        </p:spPr>
        <p:txBody>
          <a:bodyPr>
            <a:noAutofit/>
          </a:bodyPr>
          <a:lstStyle>
            <a:lvl1pPr marL="0" indent="0" algn="r">
              <a:buNone/>
              <a:defRPr sz="2500" b="1">
                <a:solidFill>
                  <a:srgbClr val="A29F26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イベント　のタイトル</a:t>
            </a:r>
          </a:p>
        </p:txBody>
      </p:sp>
      <p:sp>
        <p:nvSpPr>
          <p:cNvPr id="119" name="テキスト プレースホルダー 33"/>
          <p:cNvSpPr>
            <a:spLocks noGrp="1"/>
          </p:cNvSpPr>
          <p:nvPr>
            <p:ph type="body" sz="quarter" idx="42" hasCustomPrompt="1"/>
          </p:nvPr>
        </p:nvSpPr>
        <p:spPr>
          <a:xfrm>
            <a:off x="5226418" y="5316622"/>
            <a:ext cx="2053271" cy="1457763"/>
          </a:xfrm>
        </p:spPr>
        <p:txBody>
          <a:bodyPr>
            <a:noAutofit/>
          </a:bodyPr>
          <a:lstStyle>
            <a:lvl1pPr marL="0" marR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>
                <a:solidFill>
                  <a:srgbClr val="5C2A08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marR="0" lvl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ここにコピーを入れましょう。ここにコピーを入れましょう。ここにコピーを入れましょう。</a:t>
            </a:r>
          </a:p>
          <a:p>
            <a:pPr lvl="0"/>
            <a:endParaRPr kumimoji="1" lang="ja-JP" altLang="en-US" dirty="0"/>
          </a:p>
        </p:txBody>
      </p:sp>
      <p:sp>
        <p:nvSpPr>
          <p:cNvPr id="120" name="テキスト プレースホルダー 33"/>
          <p:cNvSpPr>
            <a:spLocks noGrp="1"/>
          </p:cNvSpPr>
          <p:nvPr>
            <p:ph type="body" sz="quarter" idx="43" hasCustomPrompt="1"/>
          </p:nvPr>
        </p:nvSpPr>
        <p:spPr>
          <a:xfrm>
            <a:off x="401172" y="7164576"/>
            <a:ext cx="5745015" cy="475538"/>
          </a:xfrm>
        </p:spPr>
        <p:txBody>
          <a:bodyPr>
            <a:noAutofit/>
          </a:bodyPr>
          <a:lstStyle>
            <a:lvl1pPr marL="0" indent="0" algn="l">
              <a:buNone/>
              <a:defRPr sz="2500" b="1">
                <a:solidFill>
                  <a:srgbClr val="69AB19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スタンプラリー・抽選会は毎日開催！</a:t>
            </a:r>
          </a:p>
        </p:txBody>
      </p:sp>
      <p:sp>
        <p:nvSpPr>
          <p:cNvPr id="121" name="テキスト プレースホルダー 33"/>
          <p:cNvSpPr>
            <a:spLocks noGrp="1"/>
          </p:cNvSpPr>
          <p:nvPr>
            <p:ph type="body" sz="quarter" idx="44" hasCustomPrompt="1"/>
          </p:nvPr>
        </p:nvSpPr>
        <p:spPr>
          <a:xfrm>
            <a:off x="401172" y="7585217"/>
            <a:ext cx="5411552" cy="1082649"/>
          </a:xfrm>
        </p:spPr>
        <p:txBody>
          <a:bodyPr>
            <a:noAutofit/>
          </a:bodyPr>
          <a:lstStyle>
            <a:lvl1pPr marL="0" marR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baseline="0">
                <a:solidFill>
                  <a:srgbClr val="5C2A08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marR="0" lvl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dirty="0"/>
              <a:t>ここにコピーを入れましょう。ここにコピーを入れましょう。ここにコピーを入れましょう。ここにコピーを入れましょう。</a:t>
            </a:r>
          </a:p>
          <a:p>
            <a:pPr lvl="0"/>
            <a:endParaRPr kumimoji="1" lang="ja-JP" altLang="en-US" dirty="0"/>
          </a:p>
        </p:txBody>
      </p:sp>
      <p:sp>
        <p:nvSpPr>
          <p:cNvPr id="135" name="図プレースホルダー 134"/>
          <p:cNvSpPr>
            <a:spLocks noGrp="1"/>
          </p:cNvSpPr>
          <p:nvPr>
            <p:ph type="pic" sz="quarter" idx="45" hasCustomPrompt="1"/>
          </p:nvPr>
        </p:nvSpPr>
        <p:spPr>
          <a:xfrm>
            <a:off x="-1548" y="-1588"/>
            <a:ext cx="2006202" cy="2254527"/>
          </a:xfrm>
          <a:custGeom>
            <a:avLst/>
            <a:gdLst>
              <a:gd name="connsiteX0" fmla="*/ 0 w 2006202"/>
              <a:gd name="connsiteY0" fmla="*/ 0 h 2254527"/>
              <a:gd name="connsiteX1" fmla="*/ 1646785 w 2006202"/>
              <a:gd name="connsiteY1" fmla="*/ 0 h 2254527"/>
              <a:gd name="connsiteX2" fmla="*/ 1689261 w 2006202"/>
              <a:gd name="connsiteY2" fmla="*/ 45744 h 2254527"/>
              <a:gd name="connsiteX3" fmla="*/ 1728471 w 2006202"/>
              <a:gd name="connsiteY3" fmla="*/ 94756 h 2254527"/>
              <a:gd name="connsiteX4" fmla="*/ 1764412 w 2006202"/>
              <a:gd name="connsiteY4" fmla="*/ 143767 h 2254527"/>
              <a:gd name="connsiteX5" fmla="*/ 1797087 w 2006202"/>
              <a:gd name="connsiteY5" fmla="*/ 196046 h 2254527"/>
              <a:gd name="connsiteX6" fmla="*/ 1829761 w 2006202"/>
              <a:gd name="connsiteY6" fmla="*/ 248325 h 2254527"/>
              <a:gd name="connsiteX7" fmla="*/ 1859168 w 2006202"/>
              <a:gd name="connsiteY7" fmla="*/ 300604 h 2254527"/>
              <a:gd name="connsiteX8" fmla="*/ 1885307 w 2006202"/>
              <a:gd name="connsiteY8" fmla="*/ 359417 h 2254527"/>
              <a:gd name="connsiteX9" fmla="*/ 1911447 w 2006202"/>
              <a:gd name="connsiteY9" fmla="*/ 414964 h 2254527"/>
              <a:gd name="connsiteX10" fmla="*/ 1931051 w 2006202"/>
              <a:gd name="connsiteY10" fmla="*/ 473777 h 2254527"/>
              <a:gd name="connsiteX11" fmla="*/ 1950656 w 2006202"/>
              <a:gd name="connsiteY11" fmla="*/ 532591 h 2254527"/>
              <a:gd name="connsiteX12" fmla="*/ 1966993 w 2006202"/>
              <a:gd name="connsiteY12" fmla="*/ 594672 h 2254527"/>
              <a:gd name="connsiteX13" fmla="*/ 1980063 w 2006202"/>
              <a:gd name="connsiteY13" fmla="*/ 656754 h 2254527"/>
              <a:gd name="connsiteX14" fmla="*/ 1993132 w 2006202"/>
              <a:gd name="connsiteY14" fmla="*/ 718835 h 2254527"/>
              <a:gd name="connsiteX15" fmla="*/ 1999667 w 2006202"/>
              <a:gd name="connsiteY15" fmla="*/ 784183 h 2254527"/>
              <a:gd name="connsiteX16" fmla="*/ 2006202 w 2006202"/>
              <a:gd name="connsiteY16" fmla="*/ 846265 h 2254527"/>
              <a:gd name="connsiteX17" fmla="*/ 2006202 w 2006202"/>
              <a:gd name="connsiteY17" fmla="*/ 911613 h 2254527"/>
              <a:gd name="connsiteX18" fmla="*/ 2002935 w 2006202"/>
              <a:gd name="connsiteY18" fmla="*/ 983497 h 2254527"/>
              <a:gd name="connsiteX19" fmla="*/ 1999667 w 2006202"/>
              <a:gd name="connsiteY19" fmla="*/ 1048845 h 2254527"/>
              <a:gd name="connsiteX20" fmla="*/ 1989865 w 2006202"/>
              <a:gd name="connsiteY20" fmla="*/ 1117461 h 2254527"/>
              <a:gd name="connsiteX21" fmla="*/ 1980063 w 2006202"/>
              <a:gd name="connsiteY21" fmla="*/ 1182810 h 2254527"/>
              <a:gd name="connsiteX22" fmla="*/ 1963726 w 2006202"/>
              <a:gd name="connsiteY22" fmla="*/ 1248159 h 2254527"/>
              <a:gd name="connsiteX23" fmla="*/ 1947388 w 2006202"/>
              <a:gd name="connsiteY23" fmla="*/ 1310240 h 2254527"/>
              <a:gd name="connsiteX24" fmla="*/ 1924516 w 2006202"/>
              <a:gd name="connsiteY24" fmla="*/ 1372321 h 2254527"/>
              <a:gd name="connsiteX25" fmla="*/ 1901644 w 2006202"/>
              <a:gd name="connsiteY25" fmla="*/ 1434402 h 2254527"/>
              <a:gd name="connsiteX26" fmla="*/ 1875505 w 2006202"/>
              <a:gd name="connsiteY26" fmla="*/ 1493216 h 2254527"/>
              <a:gd name="connsiteX27" fmla="*/ 1846098 w 2006202"/>
              <a:gd name="connsiteY27" fmla="*/ 1552030 h 2254527"/>
              <a:gd name="connsiteX28" fmla="*/ 1813424 w 2006202"/>
              <a:gd name="connsiteY28" fmla="*/ 1607576 h 2254527"/>
              <a:gd name="connsiteX29" fmla="*/ 1777482 w 2006202"/>
              <a:gd name="connsiteY29" fmla="*/ 1663122 h 2254527"/>
              <a:gd name="connsiteX30" fmla="*/ 1741540 w 2006202"/>
              <a:gd name="connsiteY30" fmla="*/ 1715401 h 2254527"/>
              <a:gd name="connsiteX31" fmla="*/ 1699064 w 2006202"/>
              <a:gd name="connsiteY31" fmla="*/ 1764412 h 2254527"/>
              <a:gd name="connsiteX32" fmla="*/ 1656587 w 2006202"/>
              <a:gd name="connsiteY32" fmla="*/ 1813424 h 2254527"/>
              <a:gd name="connsiteX33" fmla="*/ 1614111 w 2006202"/>
              <a:gd name="connsiteY33" fmla="*/ 1862435 h 2254527"/>
              <a:gd name="connsiteX34" fmla="*/ 1568367 w 2006202"/>
              <a:gd name="connsiteY34" fmla="*/ 1904912 h 2254527"/>
              <a:gd name="connsiteX35" fmla="*/ 1519355 w 2006202"/>
              <a:gd name="connsiteY35" fmla="*/ 1947389 h 2254527"/>
              <a:gd name="connsiteX36" fmla="*/ 1467076 w 2006202"/>
              <a:gd name="connsiteY36" fmla="*/ 1986598 h 2254527"/>
              <a:gd name="connsiteX37" fmla="*/ 1414797 w 2006202"/>
              <a:gd name="connsiteY37" fmla="*/ 2025807 h 2254527"/>
              <a:gd name="connsiteX38" fmla="*/ 1362518 w 2006202"/>
              <a:gd name="connsiteY38" fmla="*/ 2058481 h 2254527"/>
              <a:gd name="connsiteX39" fmla="*/ 1303705 w 2006202"/>
              <a:gd name="connsiteY39" fmla="*/ 2091156 h 2254527"/>
              <a:gd name="connsiteX40" fmla="*/ 1248158 w 2006202"/>
              <a:gd name="connsiteY40" fmla="*/ 2120562 h 2254527"/>
              <a:gd name="connsiteX41" fmla="*/ 1186077 w 2006202"/>
              <a:gd name="connsiteY41" fmla="*/ 2146702 h 2254527"/>
              <a:gd name="connsiteX42" fmla="*/ 1127263 w 2006202"/>
              <a:gd name="connsiteY42" fmla="*/ 2172841 h 2254527"/>
              <a:gd name="connsiteX43" fmla="*/ 1065182 w 2006202"/>
              <a:gd name="connsiteY43" fmla="*/ 2192446 h 2254527"/>
              <a:gd name="connsiteX44" fmla="*/ 999834 w 2006202"/>
              <a:gd name="connsiteY44" fmla="*/ 2212051 h 2254527"/>
              <a:gd name="connsiteX45" fmla="*/ 934485 w 2006202"/>
              <a:gd name="connsiteY45" fmla="*/ 2225120 h 2254527"/>
              <a:gd name="connsiteX46" fmla="*/ 869137 w 2006202"/>
              <a:gd name="connsiteY46" fmla="*/ 2238190 h 2254527"/>
              <a:gd name="connsiteX47" fmla="*/ 803788 w 2006202"/>
              <a:gd name="connsiteY47" fmla="*/ 2247992 h 2254527"/>
              <a:gd name="connsiteX48" fmla="*/ 735172 w 2006202"/>
              <a:gd name="connsiteY48" fmla="*/ 2251260 h 2254527"/>
              <a:gd name="connsiteX49" fmla="*/ 666556 w 2006202"/>
              <a:gd name="connsiteY49" fmla="*/ 2254527 h 2254527"/>
              <a:gd name="connsiteX50" fmla="*/ 575068 w 2006202"/>
              <a:gd name="connsiteY50" fmla="*/ 2251260 h 2254527"/>
              <a:gd name="connsiteX51" fmla="*/ 486847 w 2006202"/>
              <a:gd name="connsiteY51" fmla="*/ 2241457 h 2254527"/>
              <a:gd name="connsiteX52" fmla="*/ 398627 w 2006202"/>
              <a:gd name="connsiteY52" fmla="*/ 2228388 h 2254527"/>
              <a:gd name="connsiteX53" fmla="*/ 313673 w 2006202"/>
              <a:gd name="connsiteY53" fmla="*/ 2205516 h 2254527"/>
              <a:gd name="connsiteX54" fmla="*/ 231988 w 2006202"/>
              <a:gd name="connsiteY54" fmla="*/ 2182644 h 2254527"/>
              <a:gd name="connsiteX55" fmla="*/ 150302 w 2006202"/>
              <a:gd name="connsiteY55" fmla="*/ 2149969 h 2254527"/>
              <a:gd name="connsiteX56" fmla="*/ 75151 w 2006202"/>
              <a:gd name="connsiteY56" fmla="*/ 2117295 h 2254527"/>
              <a:gd name="connsiteX57" fmla="*/ 0 w 2006202"/>
              <a:gd name="connsiteY57" fmla="*/ 2074819 h 2254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006202" h="2254527">
                <a:moveTo>
                  <a:pt x="0" y="0"/>
                </a:moveTo>
                <a:lnTo>
                  <a:pt x="1646785" y="0"/>
                </a:lnTo>
                <a:lnTo>
                  <a:pt x="1689261" y="45744"/>
                </a:lnTo>
                <a:lnTo>
                  <a:pt x="1728471" y="94756"/>
                </a:lnTo>
                <a:lnTo>
                  <a:pt x="1764412" y="143767"/>
                </a:lnTo>
                <a:lnTo>
                  <a:pt x="1797087" y="196046"/>
                </a:lnTo>
                <a:lnTo>
                  <a:pt x="1829761" y="248325"/>
                </a:lnTo>
                <a:lnTo>
                  <a:pt x="1859168" y="300604"/>
                </a:lnTo>
                <a:lnTo>
                  <a:pt x="1885307" y="359417"/>
                </a:lnTo>
                <a:lnTo>
                  <a:pt x="1911447" y="414964"/>
                </a:lnTo>
                <a:lnTo>
                  <a:pt x="1931051" y="473777"/>
                </a:lnTo>
                <a:lnTo>
                  <a:pt x="1950656" y="532591"/>
                </a:lnTo>
                <a:lnTo>
                  <a:pt x="1966993" y="594672"/>
                </a:lnTo>
                <a:lnTo>
                  <a:pt x="1980063" y="656754"/>
                </a:lnTo>
                <a:lnTo>
                  <a:pt x="1993132" y="718835"/>
                </a:lnTo>
                <a:lnTo>
                  <a:pt x="1999667" y="784183"/>
                </a:lnTo>
                <a:lnTo>
                  <a:pt x="2006202" y="846265"/>
                </a:lnTo>
                <a:lnTo>
                  <a:pt x="2006202" y="911613"/>
                </a:lnTo>
                <a:lnTo>
                  <a:pt x="2002935" y="983497"/>
                </a:lnTo>
                <a:lnTo>
                  <a:pt x="1999667" y="1048845"/>
                </a:lnTo>
                <a:lnTo>
                  <a:pt x="1989865" y="1117461"/>
                </a:lnTo>
                <a:lnTo>
                  <a:pt x="1980063" y="1182810"/>
                </a:lnTo>
                <a:lnTo>
                  <a:pt x="1963726" y="1248159"/>
                </a:lnTo>
                <a:lnTo>
                  <a:pt x="1947388" y="1310240"/>
                </a:lnTo>
                <a:lnTo>
                  <a:pt x="1924516" y="1372321"/>
                </a:lnTo>
                <a:lnTo>
                  <a:pt x="1901644" y="1434402"/>
                </a:lnTo>
                <a:lnTo>
                  <a:pt x="1875505" y="1493216"/>
                </a:lnTo>
                <a:lnTo>
                  <a:pt x="1846098" y="1552030"/>
                </a:lnTo>
                <a:lnTo>
                  <a:pt x="1813424" y="1607576"/>
                </a:lnTo>
                <a:lnTo>
                  <a:pt x="1777482" y="1663122"/>
                </a:lnTo>
                <a:lnTo>
                  <a:pt x="1741540" y="1715401"/>
                </a:lnTo>
                <a:lnTo>
                  <a:pt x="1699064" y="1764412"/>
                </a:lnTo>
                <a:lnTo>
                  <a:pt x="1656587" y="1813424"/>
                </a:lnTo>
                <a:lnTo>
                  <a:pt x="1614111" y="1862435"/>
                </a:lnTo>
                <a:lnTo>
                  <a:pt x="1568367" y="1904912"/>
                </a:lnTo>
                <a:lnTo>
                  <a:pt x="1519355" y="1947389"/>
                </a:lnTo>
                <a:lnTo>
                  <a:pt x="1467076" y="1986598"/>
                </a:lnTo>
                <a:lnTo>
                  <a:pt x="1414797" y="2025807"/>
                </a:lnTo>
                <a:lnTo>
                  <a:pt x="1362518" y="2058481"/>
                </a:lnTo>
                <a:lnTo>
                  <a:pt x="1303705" y="2091156"/>
                </a:lnTo>
                <a:lnTo>
                  <a:pt x="1248158" y="2120562"/>
                </a:lnTo>
                <a:lnTo>
                  <a:pt x="1186077" y="2146702"/>
                </a:lnTo>
                <a:lnTo>
                  <a:pt x="1127263" y="2172841"/>
                </a:lnTo>
                <a:lnTo>
                  <a:pt x="1065182" y="2192446"/>
                </a:lnTo>
                <a:lnTo>
                  <a:pt x="999834" y="2212051"/>
                </a:lnTo>
                <a:lnTo>
                  <a:pt x="934485" y="2225120"/>
                </a:lnTo>
                <a:lnTo>
                  <a:pt x="869137" y="2238190"/>
                </a:lnTo>
                <a:lnTo>
                  <a:pt x="803788" y="2247992"/>
                </a:lnTo>
                <a:lnTo>
                  <a:pt x="735172" y="2251260"/>
                </a:lnTo>
                <a:lnTo>
                  <a:pt x="666556" y="2254527"/>
                </a:lnTo>
                <a:lnTo>
                  <a:pt x="575068" y="2251260"/>
                </a:lnTo>
                <a:lnTo>
                  <a:pt x="486847" y="2241457"/>
                </a:lnTo>
                <a:lnTo>
                  <a:pt x="398627" y="2228388"/>
                </a:lnTo>
                <a:lnTo>
                  <a:pt x="313673" y="2205516"/>
                </a:lnTo>
                <a:lnTo>
                  <a:pt x="231988" y="2182644"/>
                </a:lnTo>
                <a:lnTo>
                  <a:pt x="150302" y="2149969"/>
                </a:lnTo>
                <a:lnTo>
                  <a:pt x="75151" y="2117295"/>
                </a:lnTo>
                <a:lnTo>
                  <a:pt x="0" y="2074819"/>
                </a:ln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ctr"/>
          </a:blipFill>
          <a:ln w="41275">
            <a:solidFill>
              <a:schemeClr val="bg1"/>
            </a:solidFill>
          </a:ln>
        </p:spPr>
        <p:txBody>
          <a:bodyPr wrap="square">
            <a:noAutofit/>
          </a:bodyPr>
          <a:lstStyle>
            <a:lvl1pPr marL="0" indent="0">
              <a:buNone/>
              <a:defRPr sz="120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 dirty="0"/>
              <a:t>写真を追加する</a:t>
            </a:r>
          </a:p>
        </p:txBody>
      </p:sp>
      <p:sp>
        <p:nvSpPr>
          <p:cNvPr id="80" name="テキスト プレースホルダー 33"/>
          <p:cNvSpPr>
            <a:spLocks noGrp="1"/>
          </p:cNvSpPr>
          <p:nvPr>
            <p:ph type="body" sz="quarter" idx="30" hasCustomPrompt="1"/>
          </p:nvPr>
        </p:nvSpPr>
        <p:spPr>
          <a:xfrm>
            <a:off x="1122525" y="594854"/>
            <a:ext cx="5314612" cy="534155"/>
          </a:xfrm>
        </p:spPr>
        <p:txBody>
          <a:bodyPr>
            <a:prstTxWarp prst="textArchUp">
              <a:avLst/>
            </a:prstTxWarp>
            <a:noAutofit/>
          </a:bodyPr>
          <a:lstStyle>
            <a:lvl1pPr marL="0" indent="0" algn="ctr">
              <a:buNone/>
              <a:defRPr sz="2800" b="0">
                <a:solidFill>
                  <a:srgbClr val="5C2A08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キャッチコピーを入れましょう</a:t>
            </a:r>
          </a:p>
        </p:txBody>
      </p:sp>
      <p:sp>
        <p:nvSpPr>
          <p:cNvPr id="137" name="図プレースホルダー 136"/>
          <p:cNvSpPr>
            <a:spLocks noGrp="1"/>
          </p:cNvSpPr>
          <p:nvPr>
            <p:ph type="pic" sz="quarter" idx="46" hasCustomPrompt="1"/>
          </p:nvPr>
        </p:nvSpPr>
        <p:spPr>
          <a:xfrm>
            <a:off x="5858321" y="556187"/>
            <a:ext cx="1920518" cy="1922164"/>
          </a:xfrm>
          <a:prstGeom prst="ellipse">
            <a:avLst/>
          </a:prstGeom>
          <a:blipFill>
            <a:blip r:embed="rId2"/>
            <a:tile tx="0" ty="0" sx="100000" sy="100000" flip="none" algn="ctr"/>
          </a:blipFill>
          <a:ln w="41275">
            <a:solidFill>
              <a:schemeClr val="bg1"/>
            </a:solidFill>
          </a:ln>
        </p:spPr>
        <p:txBody>
          <a:bodyPr tIns="252000">
            <a:normAutofit/>
          </a:bodyPr>
          <a:lstStyle>
            <a:lvl1pPr marL="0" indent="0" algn="ctr">
              <a:buNone/>
              <a:defRPr sz="100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kumimoji="1" lang="ja-JP" altLang="en-US" dirty="0"/>
              <a:t>写真を追加する</a:t>
            </a:r>
          </a:p>
        </p:txBody>
      </p:sp>
      <p:sp>
        <p:nvSpPr>
          <p:cNvPr id="138" name="テキスト プレースホルダー 33"/>
          <p:cNvSpPr>
            <a:spLocks noGrp="1"/>
          </p:cNvSpPr>
          <p:nvPr>
            <p:ph type="body" sz="quarter" idx="47" hasCustomPrompt="1"/>
          </p:nvPr>
        </p:nvSpPr>
        <p:spPr>
          <a:xfrm>
            <a:off x="161473" y="4586537"/>
            <a:ext cx="687075" cy="356938"/>
          </a:xfrm>
        </p:spPr>
        <p:txBody>
          <a:bodyPr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(</a:t>
            </a:r>
            <a:r>
              <a:rPr kumimoji="1" lang="ja-JP" altLang="en-US" dirty="0"/>
              <a:t>日</a:t>
            </a:r>
            <a:r>
              <a:rPr kumimoji="1" lang="en-US" altLang="ja-JP" dirty="0"/>
              <a:t>)</a:t>
            </a:r>
            <a:endParaRPr kumimoji="1" lang="ja-JP" altLang="en-US" dirty="0"/>
          </a:p>
        </p:txBody>
      </p:sp>
      <p:sp>
        <p:nvSpPr>
          <p:cNvPr id="139" name="テキスト プレースホルダー 33"/>
          <p:cNvSpPr>
            <a:spLocks noGrp="1"/>
          </p:cNvSpPr>
          <p:nvPr>
            <p:ph type="body" sz="quarter" idx="48" hasCustomPrompt="1"/>
          </p:nvPr>
        </p:nvSpPr>
        <p:spPr>
          <a:xfrm>
            <a:off x="2565504" y="4586537"/>
            <a:ext cx="687075" cy="356938"/>
          </a:xfrm>
        </p:spPr>
        <p:txBody>
          <a:bodyPr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(</a:t>
            </a:r>
            <a:r>
              <a:rPr kumimoji="1" lang="ja-JP" altLang="en-US" dirty="0"/>
              <a:t>日</a:t>
            </a:r>
            <a:r>
              <a:rPr kumimoji="1" lang="en-US" altLang="ja-JP" dirty="0"/>
              <a:t>)</a:t>
            </a:r>
            <a:endParaRPr kumimoji="1" lang="ja-JP" altLang="en-US" dirty="0"/>
          </a:p>
        </p:txBody>
      </p:sp>
      <p:sp>
        <p:nvSpPr>
          <p:cNvPr id="140" name="テキスト プレースホルダー 33"/>
          <p:cNvSpPr>
            <a:spLocks noGrp="1"/>
          </p:cNvSpPr>
          <p:nvPr>
            <p:ph type="body" sz="quarter" idx="49" hasCustomPrompt="1"/>
          </p:nvPr>
        </p:nvSpPr>
        <p:spPr>
          <a:xfrm>
            <a:off x="4972127" y="4586537"/>
            <a:ext cx="687075" cy="356938"/>
          </a:xfrm>
        </p:spPr>
        <p:txBody>
          <a:bodyPr>
            <a:noAutofit/>
          </a:bodyPr>
          <a:lstStyle>
            <a:lvl1pPr marL="0" indent="0" algn="ctr">
              <a:buNone/>
              <a:defRPr sz="1500" b="1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(</a:t>
            </a:r>
            <a:r>
              <a:rPr kumimoji="1" lang="ja-JP" altLang="en-US" dirty="0"/>
              <a:t>日</a:t>
            </a:r>
            <a:r>
              <a:rPr kumimoji="1" lang="en-US" altLang="ja-JP" dirty="0"/>
              <a:t>)</a:t>
            </a:r>
            <a:endParaRPr kumimoji="1" lang="ja-JP" altLang="en-US" dirty="0"/>
          </a:p>
        </p:txBody>
      </p:sp>
      <p:sp>
        <p:nvSpPr>
          <p:cNvPr id="20" name="テキスト プレースホルダー 33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79237" y="985184"/>
            <a:ext cx="5923140" cy="2399040"/>
          </a:xfrm>
        </p:spPr>
        <p:txBody>
          <a:bodyPr>
            <a:noAutofit/>
          </a:bodyPr>
          <a:lstStyle>
            <a:lvl1pPr marL="0" indent="0" algn="ctr">
              <a:buNone/>
              <a:defRPr sz="8000" b="1">
                <a:solidFill>
                  <a:srgbClr val="37587D"/>
                </a:solidFill>
                <a:effectLst>
                  <a:glow rad="203200"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イベント　タイトル</a:t>
            </a:r>
          </a:p>
        </p:txBody>
      </p:sp>
    </p:spTree>
    <p:extLst>
      <p:ext uri="{BB962C8B-B14F-4D97-AF65-F5344CB8AC3E}">
        <p14:creationId xmlns:p14="http://schemas.microsoft.com/office/powerpoint/2010/main" val="2423222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791" y="2665532"/>
            <a:ext cx="6520220" cy="4447496"/>
          </a:xfrm>
        </p:spPr>
        <p:txBody>
          <a:bodyPr anchor="b"/>
          <a:lstStyle>
            <a:lvl1pPr>
              <a:defRPr sz="496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791" y="7155103"/>
            <a:ext cx="6520220" cy="2338833"/>
          </a:xfrm>
        </p:spPr>
        <p:txBody>
          <a:bodyPr/>
          <a:lstStyle>
            <a:lvl1pPr marL="0" indent="0">
              <a:buNone/>
              <a:defRPr sz="1984">
                <a:solidFill>
                  <a:schemeClr val="tx1"/>
                </a:solidFill>
              </a:defRPr>
            </a:lvl1pPr>
            <a:lvl2pPr marL="377967" indent="0">
              <a:buNone/>
              <a:defRPr sz="1653">
                <a:solidFill>
                  <a:schemeClr val="tx1">
                    <a:tint val="75000"/>
                  </a:schemeClr>
                </a:solidFill>
              </a:defRPr>
            </a:lvl2pPr>
            <a:lvl3pPr marL="755934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390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186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89836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7803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577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373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65708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728" y="2846200"/>
            <a:ext cx="3212862" cy="6783857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27085" y="2846200"/>
            <a:ext cx="3212862" cy="6783857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5897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569242"/>
            <a:ext cx="6520220" cy="206659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713" y="2620980"/>
            <a:ext cx="3198096" cy="1284502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67" indent="0">
              <a:buNone/>
              <a:defRPr sz="1653" b="1"/>
            </a:lvl2pPr>
            <a:lvl3pPr marL="755934" indent="0">
              <a:buNone/>
              <a:defRPr sz="1488" b="1"/>
            </a:lvl3pPr>
            <a:lvl4pPr marL="1133902" indent="0">
              <a:buNone/>
              <a:defRPr sz="1323" b="1"/>
            </a:lvl4pPr>
            <a:lvl5pPr marL="1511869" indent="0">
              <a:buNone/>
              <a:defRPr sz="1323" b="1"/>
            </a:lvl5pPr>
            <a:lvl6pPr marL="1889836" indent="0">
              <a:buNone/>
              <a:defRPr sz="1323" b="1"/>
            </a:lvl6pPr>
            <a:lvl7pPr marL="2267803" indent="0">
              <a:buNone/>
              <a:defRPr sz="1323" b="1"/>
            </a:lvl7pPr>
            <a:lvl8pPr marL="2645771" indent="0">
              <a:buNone/>
              <a:defRPr sz="1323" b="1"/>
            </a:lvl8pPr>
            <a:lvl9pPr marL="3023738" indent="0">
              <a:buNone/>
              <a:defRPr sz="1323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0713" y="3905482"/>
            <a:ext cx="3198096" cy="574437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27086" y="2620980"/>
            <a:ext cx="3213847" cy="1284502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7967" indent="0">
              <a:buNone/>
              <a:defRPr sz="1653" b="1"/>
            </a:lvl2pPr>
            <a:lvl3pPr marL="755934" indent="0">
              <a:buNone/>
              <a:defRPr sz="1488" b="1"/>
            </a:lvl3pPr>
            <a:lvl4pPr marL="1133902" indent="0">
              <a:buNone/>
              <a:defRPr sz="1323" b="1"/>
            </a:lvl4pPr>
            <a:lvl5pPr marL="1511869" indent="0">
              <a:buNone/>
              <a:defRPr sz="1323" b="1"/>
            </a:lvl5pPr>
            <a:lvl6pPr marL="1889836" indent="0">
              <a:buNone/>
              <a:defRPr sz="1323" b="1"/>
            </a:lvl6pPr>
            <a:lvl7pPr marL="2267803" indent="0">
              <a:buNone/>
              <a:defRPr sz="1323" b="1"/>
            </a:lvl7pPr>
            <a:lvl8pPr marL="2645771" indent="0">
              <a:buNone/>
              <a:defRPr sz="1323" b="1"/>
            </a:lvl8pPr>
            <a:lvl9pPr marL="3023738" indent="0">
              <a:buNone/>
              <a:defRPr sz="1323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27086" y="3905482"/>
            <a:ext cx="3213847" cy="5744375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59004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48588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233018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712788"/>
            <a:ext cx="2438192" cy="2494756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3847" y="1539425"/>
            <a:ext cx="3827085" cy="7598117"/>
          </a:xfrm>
        </p:spPr>
        <p:txBody>
          <a:bodyPr/>
          <a:lstStyle>
            <a:lvl1pPr>
              <a:defRPr sz="2645"/>
            </a:lvl1pPr>
            <a:lvl2pPr>
              <a:defRPr sz="2315"/>
            </a:lvl2pPr>
            <a:lvl3pPr>
              <a:defRPr sz="1984"/>
            </a:lvl3pPr>
            <a:lvl4pPr>
              <a:defRPr sz="1653"/>
            </a:lvl4pPr>
            <a:lvl5pPr>
              <a:defRPr sz="1653"/>
            </a:lvl5pPr>
            <a:lvl6pPr>
              <a:defRPr sz="1653"/>
            </a:lvl6pPr>
            <a:lvl7pPr>
              <a:defRPr sz="1653"/>
            </a:lvl7pPr>
            <a:lvl8pPr>
              <a:defRPr sz="1653"/>
            </a:lvl8pPr>
            <a:lvl9pPr>
              <a:defRPr sz="1653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2" y="3207544"/>
            <a:ext cx="2438192" cy="5942372"/>
          </a:xfrm>
        </p:spPr>
        <p:txBody>
          <a:bodyPr/>
          <a:lstStyle>
            <a:lvl1pPr marL="0" indent="0">
              <a:buNone/>
              <a:defRPr sz="1323"/>
            </a:lvl1pPr>
            <a:lvl2pPr marL="377967" indent="0">
              <a:buNone/>
              <a:defRPr sz="1157"/>
            </a:lvl2pPr>
            <a:lvl3pPr marL="755934" indent="0">
              <a:buNone/>
              <a:defRPr sz="992"/>
            </a:lvl3pPr>
            <a:lvl4pPr marL="1133902" indent="0">
              <a:buNone/>
              <a:defRPr sz="827"/>
            </a:lvl4pPr>
            <a:lvl5pPr marL="1511869" indent="0">
              <a:buNone/>
              <a:defRPr sz="827"/>
            </a:lvl5pPr>
            <a:lvl6pPr marL="1889836" indent="0">
              <a:buNone/>
              <a:defRPr sz="827"/>
            </a:lvl6pPr>
            <a:lvl7pPr marL="2267803" indent="0">
              <a:buNone/>
              <a:defRPr sz="827"/>
            </a:lvl7pPr>
            <a:lvl8pPr marL="2645771" indent="0">
              <a:buNone/>
              <a:defRPr sz="827"/>
            </a:lvl8pPr>
            <a:lvl9pPr marL="3023738" indent="0">
              <a:buNone/>
              <a:defRPr sz="827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75282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12" y="712788"/>
            <a:ext cx="2438192" cy="2494756"/>
          </a:xfrm>
        </p:spPr>
        <p:txBody>
          <a:bodyPr anchor="b"/>
          <a:lstStyle>
            <a:lvl1pPr>
              <a:defRPr sz="2645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213847" y="1539425"/>
            <a:ext cx="3827085" cy="7598117"/>
          </a:xfrm>
        </p:spPr>
        <p:txBody>
          <a:bodyPr anchor="t"/>
          <a:lstStyle>
            <a:lvl1pPr marL="0" indent="0">
              <a:buNone/>
              <a:defRPr sz="2645"/>
            </a:lvl1pPr>
            <a:lvl2pPr marL="377967" indent="0">
              <a:buNone/>
              <a:defRPr sz="2315"/>
            </a:lvl2pPr>
            <a:lvl3pPr marL="755934" indent="0">
              <a:buNone/>
              <a:defRPr sz="1984"/>
            </a:lvl3pPr>
            <a:lvl4pPr marL="1133902" indent="0">
              <a:buNone/>
              <a:defRPr sz="1653"/>
            </a:lvl4pPr>
            <a:lvl5pPr marL="1511869" indent="0">
              <a:buNone/>
              <a:defRPr sz="1653"/>
            </a:lvl5pPr>
            <a:lvl6pPr marL="1889836" indent="0">
              <a:buNone/>
              <a:defRPr sz="1653"/>
            </a:lvl6pPr>
            <a:lvl7pPr marL="2267803" indent="0">
              <a:buNone/>
              <a:defRPr sz="1653"/>
            </a:lvl7pPr>
            <a:lvl8pPr marL="2645771" indent="0">
              <a:buNone/>
              <a:defRPr sz="1653"/>
            </a:lvl8pPr>
            <a:lvl9pPr marL="3023738" indent="0">
              <a:buNone/>
              <a:defRPr sz="1653"/>
            </a:lvl9pPr>
          </a:lstStyle>
          <a:p>
            <a:r>
              <a:rPr lang="ja-JP" altLang="en-US" dirty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712" y="3207544"/>
            <a:ext cx="2438192" cy="5942372"/>
          </a:xfrm>
        </p:spPr>
        <p:txBody>
          <a:bodyPr/>
          <a:lstStyle>
            <a:lvl1pPr marL="0" indent="0">
              <a:buNone/>
              <a:defRPr sz="1323"/>
            </a:lvl1pPr>
            <a:lvl2pPr marL="377967" indent="0">
              <a:buNone/>
              <a:defRPr sz="1157"/>
            </a:lvl2pPr>
            <a:lvl3pPr marL="755934" indent="0">
              <a:buNone/>
              <a:defRPr sz="992"/>
            </a:lvl3pPr>
            <a:lvl4pPr marL="1133902" indent="0">
              <a:buNone/>
              <a:defRPr sz="827"/>
            </a:lvl4pPr>
            <a:lvl5pPr marL="1511869" indent="0">
              <a:buNone/>
              <a:defRPr sz="827"/>
            </a:lvl5pPr>
            <a:lvl6pPr marL="1889836" indent="0">
              <a:buNone/>
              <a:defRPr sz="827"/>
            </a:lvl6pPr>
            <a:lvl7pPr marL="2267803" indent="0">
              <a:buNone/>
              <a:defRPr sz="827"/>
            </a:lvl7pPr>
            <a:lvl8pPr marL="2645771" indent="0">
              <a:buNone/>
              <a:defRPr sz="827"/>
            </a:lvl8pPr>
            <a:lvl9pPr marL="3023738" indent="0">
              <a:buNone/>
              <a:defRPr sz="827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60982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728" y="569242"/>
            <a:ext cx="6520220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728" y="2846200"/>
            <a:ext cx="6520220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9728" y="9909729"/>
            <a:ext cx="1700927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7FAFF0-029F-4E28-8117-E460C34D57CE}" type="datetimeFigureOut">
              <a:rPr kumimoji="1" lang="ja-JP" altLang="en-US" smtClean="0"/>
              <a:t>2024/2/7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4143" y="9909729"/>
            <a:ext cx="2551390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9020" y="9909729"/>
            <a:ext cx="1700927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E28738-D290-41DC-AD05-A268D9368FF7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34213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55934" rtl="0" eaLnBrk="1" latinLnBrk="0" hangingPunct="1">
        <a:lnSpc>
          <a:spcPct val="90000"/>
        </a:lnSpc>
        <a:spcBef>
          <a:spcPct val="0"/>
        </a:spcBef>
        <a:buNone/>
        <a:defRPr kumimoji="1" sz="363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984" indent="-188984" algn="l" defTabSz="755934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kumimoji="1"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6951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4918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322885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0853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kumimoji="1"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316" y="2478"/>
          <a:ext cx="1312" cy="24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16" y="2478"/>
                        <a:ext cx="1312" cy="24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31244" cy="329994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07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422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hdr="0"/>
  <p:txStyles>
    <p:titleStyle>
      <a:lvl1pPr algn="l" defTabSz="1167816" rtl="0" eaLnBrk="1" latinLnBrk="0" hangingPunct="1">
        <a:lnSpc>
          <a:spcPct val="100000"/>
        </a:lnSpc>
        <a:spcBef>
          <a:spcPct val="0"/>
        </a:spcBef>
        <a:buNone/>
        <a:defRPr kumimoji="1" lang="en-US" sz="3073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6806" indent="-206806" algn="l" defTabSz="116781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kumimoji="1" lang="en-US" sz="180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408746" indent="-175177" algn="l" defTabSz="116781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kumimoji="1" lang="en-US" sz="1519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48887" indent="-137871" algn="l" defTabSz="116781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kumimoji="1" lang="en-US" sz="1272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59100" indent="-175177" algn="l" defTabSz="116781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kumimoji="1" lang="en-US" sz="1272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96159" indent="-137871" algn="l" defTabSz="1167816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kumimoji="1" lang="en-IN" sz="1272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211494" indent="-291954" algn="l" defTabSz="1167816" rtl="0" eaLnBrk="1" latinLnBrk="0" hangingPunct="1">
        <a:spcBef>
          <a:spcPct val="20000"/>
        </a:spcBef>
        <a:buFont typeface="Arial" pitchFamily="34" charset="0"/>
        <a:buChar char="•"/>
        <a:defRPr kumimoji="1" sz="2543" kern="1200">
          <a:solidFill>
            <a:schemeClr val="tx1"/>
          </a:solidFill>
          <a:latin typeface="+mn-lt"/>
          <a:ea typeface="+mn-ea"/>
          <a:cs typeface="+mn-cs"/>
        </a:defRPr>
      </a:lvl6pPr>
      <a:lvl7pPr marL="3795403" indent="-291954" algn="l" defTabSz="1167816" rtl="0" eaLnBrk="1" latinLnBrk="0" hangingPunct="1">
        <a:spcBef>
          <a:spcPct val="20000"/>
        </a:spcBef>
        <a:buFont typeface="Arial" pitchFamily="34" charset="0"/>
        <a:buChar char="•"/>
        <a:defRPr kumimoji="1" sz="2543" kern="1200">
          <a:solidFill>
            <a:schemeClr val="tx1"/>
          </a:solidFill>
          <a:latin typeface="+mn-lt"/>
          <a:ea typeface="+mn-ea"/>
          <a:cs typeface="+mn-cs"/>
        </a:defRPr>
      </a:lvl7pPr>
      <a:lvl8pPr marL="4379310" indent="-291954" algn="l" defTabSz="1167816" rtl="0" eaLnBrk="1" latinLnBrk="0" hangingPunct="1">
        <a:spcBef>
          <a:spcPct val="20000"/>
        </a:spcBef>
        <a:buFont typeface="Arial" pitchFamily="34" charset="0"/>
        <a:buChar char="•"/>
        <a:defRPr kumimoji="1" sz="2543" kern="1200">
          <a:solidFill>
            <a:schemeClr val="tx1"/>
          </a:solidFill>
          <a:latin typeface="+mn-lt"/>
          <a:ea typeface="+mn-ea"/>
          <a:cs typeface="+mn-cs"/>
        </a:defRPr>
      </a:lvl8pPr>
      <a:lvl9pPr marL="4963219" indent="-291954" algn="l" defTabSz="1167816" rtl="0" eaLnBrk="1" latinLnBrk="0" hangingPunct="1">
        <a:spcBef>
          <a:spcPct val="20000"/>
        </a:spcBef>
        <a:buFont typeface="Arial" pitchFamily="34" charset="0"/>
        <a:buChar char="•"/>
        <a:defRPr kumimoji="1" sz="25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1pPr>
      <a:lvl2pPr marL="583908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2pPr>
      <a:lvl3pPr marL="1167816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3pPr>
      <a:lvl4pPr marL="1751725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4pPr>
      <a:lvl5pPr marL="2335632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5pPr>
      <a:lvl6pPr marL="2919541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6pPr>
      <a:lvl7pPr marL="3503448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7pPr>
      <a:lvl8pPr marL="4087356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8pPr>
      <a:lvl9pPr marL="4671265" algn="l" defTabSz="1167816" rtl="0" eaLnBrk="1" latinLnBrk="0" hangingPunct="1">
        <a:defRPr kumimoji="1" sz="22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000000"/>
          </p15:clr>
        </p15:guide>
        <p15:guide id="2" pos="5443">
          <p15:clr>
            <a:srgbClr val="000000"/>
          </p15:clr>
        </p15:guide>
        <p15:guide id="3" pos="5057">
          <p15:clr>
            <a:srgbClr val="000000"/>
          </p15:clr>
        </p15:guide>
        <p15:guide id="4" orient="horz" pos="237">
          <p15:clr>
            <a:srgbClr val="000000"/>
          </p15:clr>
        </p15:guide>
        <p15:guide id="5" orient="horz" pos="690">
          <p15:clr>
            <a:srgbClr val="000000"/>
          </p15:clr>
        </p15:guide>
        <p15:guide id="6" orient="horz" pos="758">
          <p15:clr>
            <a:srgbClr val="000000"/>
          </p15:clr>
        </p15:guide>
        <p15:guide id="7" orient="horz" pos="2958">
          <p15:clr>
            <a:srgbClr val="000000"/>
          </p15:clr>
        </p15:guide>
        <p15:guide id="8" pos="3039">
          <p15:clr>
            <a:srgbClr val="000000"/>
          </p15:clr>
        </p15:guide>
        <p15:guide id="10" pos="2880">
          <p15:clr>
            <a:srgbClr val="000000"/>
          </p15:clr>
        </p15:guide>
        <p15:guide id="11" pos="272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12" Type="http://schemas.microsoft.com/office/2007/relationships/hdphoto" Target="../media/hdphoto4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3.png"/><Relationship Id="rId5" Type="http://schemas.openxmlformats.org/officeDocument/2006/relationships/image" Target="../media/image9.pn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12.png"/><Relationship Id="rId14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5"/>
          <p:cNvSpPr>
            <a:spLocks noChangeArrowheads="1"/>
          </p:cNvSpPr>
          <p:nvPr/>
        </p:nvSpPr>
        <p:spPr bwMode="auto">
          <a:xfrm>
            <a:off x="0" y="0"/>
            <a:ext cx="7559675" cy="10693400"/>
          </a:xfrm>
          <a:prstGeom prst="rect">
            <a:avLst/>
          </a:prstGeom>
          <a:solidFill>
            <a:srgbClr val="A6DED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 dirty="0"/>
          </a:p>
        </p:txBody>
      </p:sp>
      <p:pic>
        <p:nvPicPr>
          <p:cNvPr id="29" name="図 28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3942" y="-11715"/>
            <a:ext cx="7558415" cy="10691500"/>
          </a:xfrm>
          <a:prstGeom prst="rect">
            <a:avLst/>
          </a:prstGeom>
          <a:noFill/>
          <a:ln>
            <a:noFill/>
          </a:ln>
          <a:effectLst>
            <a:glow rad="127000">
              <a:schemeClr val="accent1">
                <a:alpha val="0"/>
              </a:schemeClr>
            </a:glow>
            <a:softEdge rad="0"/>
          </a:effectLst>
        </p:spPr>
      </p:pic>
      <p:sp>
        <p:nvSpPr>
          <p:cNvPr id="53" name="角丸四角形 52"/>
          <p:cNvSpPr/>
          <p:nvPr/>
        </p:nvSpPr>
        <p:spPr>
          <a:xfrm>
            <a:off x="285516" y="6894841"/>
            <a:ext cx="7065397" cy="1771749"/>
          </a:xfrm>
          <a:prstGeom prst="roundRect">
            <a:avLst>
              <a:gd name="adj" fmla="val 6572"/>
            </a:avLst>
          </a:prstGeom>
          <a:solidFill>
            <a:schemeClr val="bg1"/>
          </a:solidFill>
          <a:ln w="3810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0" name="角丸四角形 29"/>
          <p:cNvSpPr/>
          <p:nvPr/>
        </p:nvSpPr>
        <p:spPr>
          <a:xfrm>
            <a:off x="285516" y="3936699"/>
            <a:ext cx="2252151" cy="2782911"/>
          </a:xfrm>
          <a:prstGeom prst="roundRect">
            <a:avLst>
              <a:gd name="adj" fmla="val 6572"/>
            </a:avLst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>
            <a:off x="0" y="8769933"/>
            <a:ext cx="7559675" cy="192187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 dirty="0"/>
          </a:p>
        </p:txBody>
      </p:sp>
      <p:sp>
        <p:nvSpPr>
          <p:cNvPr id="38" name="角丸四角形 37"/>
          <p:cNvSpPr/>
          <p:nvPr/>
        </p:nvSpPr>
        <p:spPr>
          <a:xfrm>
            <a:off x="2692139" y="3936681"/>
            <a:ext cx="2252151" cy="2778614"/>
          </a:xfrm>
          <a:prstGeom prst="roundRect">
            <a:avLst>
              <a:gd name="adj" fmla="val 6572"/>
            </a:avLst>
          </a:prstGeom>
          <a:solidFill>
            <a:schemeClr val="bg1"/>
          </a:solidFill>
          <a:ln w="38100">
            <a:solidFill>
              <a:srgbClr val="E296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0" name="角丸四角形 39"/>
          <p:cNvSpPr/>
          <p:nvPr/>
        </p:nvSpPr>
        <p:spPr>
          <a:xfrm>
            <a:off x="5098762" y="3936681"/>
            <a:ext cx="2252151" cy="2782929"/>
          </a:xfrm>
          <a:prstGeom prst="roundRect">
            <a:avLst>
              <a:gd name="adj" fmla="val 6572"/>
            </a:avLst>
          </a:prstGeom>
          <a:solidFill>
            <a:schemeClr val="bg1"/>
          </a:solidFill>
          <a:ln w="38100">
            <a:solidFill>
              <a:srgbClr val="99FF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4" name="テキスト プレースホルダー 73"/>
          <p:cNvSpPr>
            <a:spLocks noGrp="1"/>
          </p:cNvSpPr>
          <p:nvPr>
            <p:ph type="body" sz="quarter" idx="10"/>
          </p:nvPr>
        </p:nvSpPr>
        <p:spPr>
          <a:xfrm>
            <a:off x="137801" y="8938729"/>
            <a:ext cx="3567465" cy="708229"/>
          </a:xfrm>
        </p:spPr>
        <p:txBody>
          <a:bodyPr anchor="ctr" anchorCtr="1"/>
          <a:lstStyle/>
          <a:p>
            <a:pPr>
              <a:lnSpc>
                <a:spcPct val="50000"/>
              </a:lnSpc>
            </a:pPr>
            <a:r>
              <a:rPr kumimoji="1" lang="ja-JP" altLang="en-US" sz="1800" dirty="0">
                <a:solidFill>
                  <a:schemeClr val="accent5">
                    <a:lumMod val="50000"/>
                  </a:schemeClr>
                </a:solidFill>
              </a:rPr>
              <a:t>社会医療法人財団　石心会</a:t>
            </a:r>
            <a:endParaRPr kumimoji="1" lang="en-US" altLang="ja-JP" sz="1800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lnSpc>
                <a:spcPct val="50000"/>
              </a:lnSpc>
            </a:pPr>
            <a:r>
              <a:rPr kumimoji="1" lang="ja-JP" altLang="en-US" sz="1800" dirty="0">
                <a:solidFill>
                  <a:schemeClr val="accent5">
                    <a:lumMod val="50000"/>
                  </a:schemeClr>
                </a:solidFill>
              </a:rPr>
              <a:t>アルファメディック･クリニック</a:t>
            </a:r>
          </a:p>
        </p:txBody>
      </p:sp>
      <p:sp>
        <p:nvSpPr>
          <p:cNvPr id="75" name="テキスト プレースホルダー 74"/>
          <p:cNvSpPr>
            <a:spLocks noGrp="1"/>
          </p:cNvSpPr>
          <p:nvPr>
            <p:ph type="body" sz="quarter" idx="12"/>
          </p:nvPr>
        </p:nvSpPr>
        <p:spPr>
          <a:xfrm>
            <a:off x="3818214" y="8950004"/>
            <a:ext cx="3455593" cy="536356"/>
          </a:xfrm>
        </p:spPr>
        <p:txBody>
          <a:bodyPr anchor="b" anchorCtr="1"/>
          <a:lstStyle/>
          <a:p>
            <a:pPr>
              <a:lnSpc>
                <a:spcPct val="50000"/>
              </a:lnSpc>
            </a:pPr>
            <a:r>
              <a:rPr lang="ja-JP" altLang="en-US" dirty="0">
                <a:solidFill>
                  <a:schemeClr val="accent5">
                    <a:lumMod val="50000"/>
                  </a:schemeClr>
                </a:solidFill>
                <a:ea typeface="HG丸ｺﾞｼｯｸM-PRO" panose="020F0600000000000000" pitchFamily="50" charset="-128"/>
              </a:rPr>
              <a:t>神奈川県川崎市幸区堀川町</a:t>
            </a:r>
            <a:r>
              <a:rPr lang="en-US" altLang="ja-JP" dirty="0">
                <a:solidFill>
                  <a:schemeClr val="accent5">
                    <a:lumMod val="50000"/>
                  </a:schemeClr>
                </a:solidFill>
                <a:ea typeface="HG丸ｺﾞｼｯｸM-PRO" panose="020F0600000000000000" pitchFamily="50" charset="-128"/>
              </a:rPr>
              <a:t>580-16</a:t>
            </a:r>
          </a:p>
          <a:p>
            <a:pPr>
              <a:lnSpc>
                <a:spcPct val="50000"/>
              </a:lnSpc>
            </a:pPr>
            <a:r>
              <a:rPr lang="ja-JP" altLang="en-US" dirty="0">
                <a:solidFill>
                  <a:schemeClr val="accent5">
                    <a:lumMod val="50000"/>
                  </a:schemeClr>
                </a:solidFill>
              </a:rPr>
              <a:t>川崎テックセンター</a:t>
            </a:r>
            <a:r>
              <a:rPr lang="en-US" altLang="ja-JP" dirty="0">
                <a:solidFill>
                  <a:schemeClr val="accent5">
                    <a:lumMod val="50000"/>
                  </a:schemeClr>
                </a:solidFill>
              </a:rPr>
              <a:t>8F</a:t>
            </a:r>
          </a:p>
        </p:txBody>
      </p:sp>
      <p:sp>
        <p:nvSpPr>
          <p:cNvPr id="86" name="テキスト プレースホルダー 85"/>
          <p:cNvSpPr>
            <a:spLocks noGrp="1"/>
          </p:cNvSpPr>
          <p:nvPr>
            <p:ph type="body" sz="quarter" idx="32"/>
          </p:nvPr>
        </p:nvSpPr>
        <p:spPr>
          <a:xfrm>
            <a:off x="-15584" y="9944878"/>
            <a:ext cx="7556437" cy="760237"/>
          </a:xfrm>
        </p:spPr>
        <p:txBody>
          <a:bodyPr lIns="90000" bIns="108000" anchor="ctr" anchorCtr="0">
            <a:normAutofit fontScale="92500" lnSpcReduction="20000"/>
          </a:bodyPr>
          <a:lstStyle/>
          <a:p>
            <a:r>
              <a:rPr lang="ja-JP" altLang="en-US" sz="2800" dirty="0">
                <a:ea typeface="HG丸ｺﾞｼｯｸM-PRO" panose="020F0600000000000000" pitchFamily="50" charset="-128"/>
              </a:rPr>
              <a:t>♦ご予約専用ダイヤル</a:t>
            </a:r>
            <a:r>
              <a:rPr lang="ja-JP" altLang="en-US" sz="2800" dirty="0"/>
              <a:t>（</a:t>
            </a:r>
            <a:r>
              <a:rPr lang="en-US" altLang="ja-JP" sz="2800" dirty="0"/>
              <a:t>044</a:t>
            </a:r>
            <a:r>
              <a:rPr lang="ja-JP" altLang="en-US" sz="2800" dirty="0"/>
              <a:t>）</a:t>
            </a:r>
            <a:r>
              <a:rPr lang="en-US" altLang="ja-JP" sz="2800" dirty="0"/>
              <a:t>511</a:t>
            </a:r>
            <a:r>
              <a:rPr lang="ja-JP" altLang="en-US" sz="2800" dirty="0"/>
              <a:t>－</a:t>
            </a:r>
            <a:r>
              <a:rPr lang="en-US" altLang="ja-JP" sz="2800" dirty="0"/>
              <a:t>6116</a:t>
            </a:r>
          </a:p>
          <a:p>
            <a:r>
              <a:rPr kumimoji="1" lang="ja-JP" altLang="en-US" sz="1700" dirty="0"/>
              <a:t>月曜日～土曜日</a:t>
            </a:r>
            <a:r>
              <a:rPr kumimoji="1" lang="en-US" altLang="ja-JP" sz="1700" dirty="0"/>
              <a:t>(</a:t>
            </a:r>
            <a:r>
              <a:rPr kumimoji="1" lang="ja-JP" altLang="en-US" sz="1700" dirty="0"/>
              <a:t>日曜･祝日･年末年始は除く</a:t>
            </a:r>
            <a:r>
              <a:rPr kumimoji="1" lang="en-US" altLang="ja-JP" sz="1700" dirty="0"/>
              <a:t>)</a:t>
            </a:r>
            <a:r>
              <a:rPr kumimoji="1" lang="ja-JP" altLang="en-US" sz="1700" dirty="0"/>
              <a:t>　</a:t>
            </a:r>
            <a:r>
              <a:rPr kumimoji="1" lang="en-US" altLang="ja-JP" sz="1700" dirty="0"/>
              <a:t>8</a:t>
            </a:r>
            <a:r>
              <a:rPr kumimoji="1" lang="ja-JP" altLang="en-US" sz="1700" dirty="0"/>
              <a:t>：</a:t>
            </a:r>
            <a:r>
              <a:rPr kumimoji="1" lang="en-US" altLang="ja-JP" sz="1700" dirty="0"/>
              <a:t>30</a:t>
            </a:r>
            <a:r>
              <a:rPr kumimoji="1" lang="ja-JP" altLang="en-US" sz="1700" dirty="0"/>
              <a:t>～</a:t>
            </a:r>
            <a:r>
              <a:rPr kumimoji="1" lang="en-US" altLang="ja-JP" sz="1700" dirty="0"/>
              <a:t>17</a:t>
            </a:r>
            <a:r>
              <a:rPr kumimoji="1" lang="ja-JP" altLang="en-US" sz="1700" dirty="0"/>
              <a:t>：</a:t>
            </a:r>
            <a:r>
              <a:rPr kumimoji="1" lang="en-US" altLang="ja-JP" sz="1700" dirty="0"/>
              <a:t>00</a:t>
            </a:r>
            <a:endParaRPr kumimoji="1" lang="ja-JP" altLang="en-US" sz="1700" dirty="0"/>
          </a:p>
        </p:txBody>
      </p:sp>
      <p:sp>
        <p:nvSpPr>
          <p:cNvPr id="87" name="テキスト プレースホルダー 86"/>
          <p:cNvSpPr>
            <a:spLocks noGrp="1"/>
          </p:cNvSpPr>
          <p:nvPr>
            <p:ph type="body" sz="quarter" idx="33"/>
          </p:nvPr>
        </p:nvSpPr>
        <p:spPr>
          <a:xfrm>
            <a:off x="262930" y="9529172"/>
            <a:ext cx="6132061" cy="391358"/>
          </a:xfrm>
        </p:spPr>
        <p:txBody>
          <a:bodyPr/>
          <a:lstStyle/>
          <a:p>
            <a:r>
              <a:rPr lang="en-US" altLang="ja-JP" sz="1800" b="1" dirty="0">
                <a:solidFill>
                  <a:schemeClr val="accent5">
                    <a:lumMod val="50000"/>
                  </a:schemeClr>
                </a:solidFill>
                <a:latin typeface="+mn-lt"/>
                <a:ea typeface="HG丸ｺﾞｼｯｸM-PRO" panose="020F0600000000000000" pitchFamily="50" charset="-128"/>
              </a:rPr>
              <a:t>https//alpha-medic.gr.jp</a:t>
            </a:r>
            <a:r>
              <a:rPr lang="ja-JP" altLang="en-US" sz="1800" b="1" dirty="0">
                <a:solidFill>
                  <a:schemeClr val="accent5">
                    <a:lumMod val="50000"/>
                  </a:schemeClr>
                </a:solidFill>
                <a:latin typeface="+mn-lt"/>
                <a:ea typeface="HG丸ｺﾞｼｯｸM-PRO" panose="020F0600000000000000" pitchFamily="50" charset="-128"/>
              </a:rPr>
              <a:t>　 </a:t>
            </a:r>
            <a:r>
              <a:rPr lang="en-US" altLang="ja-JP" dirty="0">
                <a:solidFill>
                  <a:schemeClr val="accent5">
                    <a:lumMod val="50000"/>
                  </a:schemeClr>
                </a:solidFill>
              </a:rPr>
              <a:t>QR</a:t>
            </a:r>
            <a:r>
              <a:rPr lang="ja-JP" altLang="en-US" dirty="0">
                <a:solidFill>
                  <a:schemeClr val="accent5">
                    <a:lumMod val="50000"/>
                  </a:schemeClr>
                </a:solidFill>
              </a:rPr>
              <a:t>ｺｰﾄﾞからも当院ﾎｰﾑﾍﾟｰｼﾞをご覧いただけます</a:t>
            </a:r>
            <a:r>
              <a:rPr lang="ja-JP" altLang="en-US" dirty="0"/>
              <a:t>。</a:t>
            </a:r>
            <a:endParaRPr lang="ja-JP" altLang="en-US" sz="1800" dirty="0"/>
          </a:p>
          <a:p>
            <a:endParaRPr lang="ja-JP" altLang="en-US" sz="1800" b="1" dirty="0">
              <a:latin typeface="+mn-lt"/>
            </a:endParaRPr>
          </a:p>
          <a:p>
            <a:pPr lvl="0"/>
            <a:endParaRPr lang="ja-JP" altLang="en-US" dirty="0"/>
          </a:p>
        </p:txBody>
      </p:sp>
      <p:sp>
        <p:nvSpPr>
          <p:cNvPr id="94" name="テキスト プレースホルダー 93"/>
          <p:cNvSpPr>
            <a:spLocks noGrp="1"/>
          </p:cNvSpPr>
          <p:nvPr>
            <p:ph type="body" sz="quarter" idx="40"/>
          </p:nvPr>
        </p:nvSpPr>
        <p:spPr>
          <a:xfrm>
            <a:off x="2822553" y="5801724"/>
            <a:ext cx="2053271" cy="828381"/>
          </a:xfrm>
        </p:spPr>
        <p:txBody>
          <a:bodyPr/>
          <a:lstStyle/>
          <a:p>
            <a:r>
              <a:rPr lang="ja-JP" altLang="en-US" sz="1200" dirty="0">
                <a:solidFill>
                  <a:srgbClr val="CF4D72"/>
                </a:solidFill>
              </a:rPr>
              <a:t>経鼻</a:t>
            </a:r>
            <a:r>
              <a:rPr kumimoji="1" lang="ja-JP" altLang="en-US" sz="1200" dirty="0">
                <a:solidFill>
                  <a:srgbClr val="CF4D72"/>
                </a:solidFill>
              </a:rPr>
              <a:t>と経口を選択いただけます。</a:t>
            </a:r>
            <a:r>
              <a:rPr kumimoji="1" lang="en-US" altLang="ja-JP" sz="1200" dirty="0">
                <a:solidFill>
                  <a:srgbClr val="CF4D72"/>
                </a:solidFill>
              </a:rPr>
              <a:t>1</a:t>
            </a:r>
            <a:r>
              <a:rPr kumimoji="1" lang="ja-JP" altLang="en-US" sz="1200" dirty="0">
                <a:solidFill>
                  <a:srgbClr val="CF4D72"/>
                </a:solidFill>
              </a:rPr>
              <a:t>日</a:t>
            </a:r>
            <a:r>
              <a:rPr kumimoji="1" lang="en-US" altLang="ja-JP" sz="1200" dirty="0">
                <a:solidFill>
                  <a:srgbClr val="CF4D72"/>
                </a:solidFill>
              </a:rPr>
              <a:t>65</a:t>
            </a:r>
            <a:r>
              <a:rPr kumimoji="1" lang="ja-JP" altLang="en-US" sz="1200" dirty="0">
                <a:solidFill>
                  <a:srgbClr val="CF4D72"/>
                </a:solidFill>
              </a:rPr>
              <a:t>名の検査が可能。また</a:t>
            </a:r>
            <a:r>
              <a:rPr kumimoji="1" lang="en-US" altLang="ja-JP" sz="1200" dirty="0">
                <a:solidFill>
                  <a:srgbClr val="CF4D72"/>
                </a:solidFill>
              </a:rPr>
              <a:t>､</a:t>
            </a:r>
            <a:r>
              <a:rPr kumimoji="1" lang="ja-JP" altLang="en-US" sz="1200" dirty="0">
                <a:solidFill>
                  <a:srgbClr val="CF4D72"/>
                </a:solidFill>
              </a:rPr>
              <a:t>経鼻内視鏡を増設し</a:t>
            </a:r>
            <a:r>
              <a:rPr kumimoji="1" lang="en-US" altLang="ja-JP" sz="1200" dirty="0">
                <a:solidFill>
                  <a:srgbClr val="CF4D72"/>
                </a:solidFill>
              </a:rPr>
              <a:t>､</a:t>
            </a:r>
            <a:r>
              <a:rPr kumimoji="1" lang="ja-JP" altLang="en-US" sz="1200" dirty="0">
                <a:solidFill>
                  <a:srgbClr val="CF4D72"/>
                </a:solidFill>
              </a:rPr>
              <a:t>ご予約が取りやすくなりました</a:t>
            </a:r>
            <a:r>
              <a:rPr kumimoji="1" lang="ja-JP" altLang="en-US" dirty="0">
                <a:solidFill>
                  <a:srgbClr val="CF4D72"/>
                </a:solidFill>
              </a:rPr>
              <a:t>。</a:t>
            </a:r>
            <a:endParaRPr kumimoji="1" lang="en-US" altLang="ja-JP" dirty="0">
              <a:solidFill>
                <a:srgbClr val="CF4D72"/>
              </a:solidFill>
            </a:endParaRPr>
          </a:p>
          <a:p>
            <a:endParaRPr kumimoji="1" lang="en-US" altLang="ja-JP" dirty="0">
              <a:solidFill>
                <a:srgbClr val="CF4D72"/>
              </a:solidFill>
            </a:endParaRPr>
          </a:p>
          <a:p>
            <a:endParaRPr kumimoji="1" lang="en-US" altLang="ja-JP" dirty="0"/>
          </a:p>
          <a:p>
            <a:endParaRPr kumimoji="1" lang="ja-JP" altLang="en-US" dirty="0"/>
          </a:p>
        </p:txBody>
      </p:sp>
      <p:sp>
        <p:nvSpPr>
          <p:cNvPr id="95" name="テキスト プレースホルダー 94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96" name="テキスト プレースホルダー 95"/>
          <p:cNvSpPr>
            <a:spLocks noGrp="1"/>
          </p:cNvSpPr>
          <p:nvPr>
            <p:ph type="body" sz="quarter" idx="42"/>
          </p:nvPr>
        </p:nvSpPr>
        <p:spPr>
          <a:xfrm>
            <a:off x="395277" y="5864613"/>
            <a:ext cx="2134906" cy="1031492"/>
          </a:xfrm>
        </p:spPr>
        <p:txBody>
          <a:bodyPr/>
          <a:lstStyle/>
          <a:p>
            <a:r>
              <a:rPr kumimoji="1" lang="en-US" altLang="ja-JP" sz="1200" dirty="0">
                <a:solidFill>
                  <a:srgbClr val="37587D"/>
                </a:solidFill>
              </a:rPr>
              <a:t>2024</a:t>
            </a:r>
            <a:r>
              <a:rPr kumimoji="1" lang="ja-JP" altLang="en-US" sz="1200" dirty="0">
                <a:solidFill>
                  <a:srgbClr val="37587D"/>
                </a:solidFill>
              </a:rPr>
              <a:t>年</a:t>
            </a:r>
            <a:r>
              <a:rPr kumimoji="1" lang="en-US" altLang="ja-JP" sz="1200" dirty="0">
                <a:solidFill>
                  <a:srgbClr val="37587D"/>
                </a:solidFill>
              </a:rPr>
              <a:t>4</a:t>
            </a:r>
            <a:r>
              <a:rPr kumimoji="1" lang="ja-JP" altLang="en-US" sz="1200" dirty="0">
                <a:solidFill>
                  <a:srgbClr val="37587D"/>
                </a:solidFill>
              </a:rPr>
              <a:t>月より同ﾋﾞﾙ内に</a:t>
            </a:r>
            <a:r>
              <a:rPr lang="en-US" altLang="ja-JP" sz="1200" dirty="0">
                <a:solidFill>
                  <a:srgbClr val="37587D"/>
                </a:solidFill>
              </a:rPr>
              <a:t>MRI(</a:t>
            </a:r>
            <a:r>
              <a:rPr lang="ja-JP" altLang="en-US" sz="1200" dirty="0">
                <a:solidFill>
                  <a:srgbClr val="37587D"/>
                </a:solidFill>
              </a:rPr>
              <a:t>磁気共鳴画像</a:t>
            </a:r>
            <a:r>
              <a:rPr lang="en-US" altLang="ja-JP" sz="1200" dirty="0">
                <a:solidFill>
                  <a:srgbClr val="37587D"/>
                </a:solidFill>
              </a:rPr>
              <a:t>)</a:t>
            </a:r>
            <a:r>
              <a:rPr lang="ja-JP" altLang="en-US" sz="1200" dirty="0">
                <a:solidFill>
                  <a:srgbClr val="37587D"/>
                </a:solidFill>
              </a:rPr>
              <a:t>装置を導入。また</a:t>
            </a:r>
            <a:r>
              <a:rPr lang="en-US" altLang="ja-JP" sz="1200" dirty="0">
                <a:solidFill>
                  <a:srgbClr val="37587D"/>
                </a:solidFill>
              </a:rPr>
              <a:t>､80</a:t>
            </a:r>
            <a:r>
              <a:rPr lang="ja-JP" altLang="en-US" sz="1200" dirty="0">
                <a:solidFill>
                  <a:srgbClr val="37587D"/>
                </a:solidFill>
              </a:rPr>
              <a:t>列の</a:t>
            </a:r>
            <a:r>
              <a:rPr lang="en-US" altLang="ja-JP" sz="1200" dirty="0">
                <a:solidFill>
                  <a:srgbClr val="37587D"/>
                </a:solidFill>
              </a:rPr>
              <a:t>CT</a:t>
            </a:r>
            <a:r>
              <a:rPr lang="ja-JP" altLang="en-US" sz="1200">
                <a:solidFill>
                  <a:srgbClr val="37587D"/>
                </a:solidFill>
              </a:rPr>
              <a:t>を利用したｵﾌﾟｼｮﾝ</a:t>
            </a:r>
            <a:r>
              <a:rPr lang="ja-JP" altLang="en-US" sz="1200" dirty="0">
                <a:solidFill>
                  <a:srgbClr val="37587D"/>
                </a:solidFill>
              </a:rPr>
              <a:t>検査も充実。</a:t>
            </a:r>
            <a:endParaRPr lang="en-US" altLang="ja-JP" sz="1200" dirty="0">
              <a:solidFill>
                <a:srgbClr val="37587D"/>
              </a:solidFill>
            </a:endParaRPr>
          </a:p>
        </p:txBody>
      </p:sp>
      <p:sp>
        <p:nvSpPr>
          <p:cNvPr id="97" name="テキスト プレースホルダー 96"/>
          <p:cNvSpPr>
            <a:spLocks noGrp="1"/>
          </p:cNvSpPr>
          <p:nvPr>
            <p:ph type="body" sz="quarter" idx="43"/>
          </p:nvPr>
        </p:nvSpPr>
        <p:spPr>
          <a:xfrm>
            <a:off x="401172" y="6962796"/>
            <a:ext cx="3417041" cy="488859"/>
          </a:xfrm>
        </p:spPr>
        <p:txBody>
          <a:bodyPr anchor="ctr" anchorCtr="1"/>
          <a:lstStyle/>
          <a:p>
            <a:r>
              <a:rPr lang="ja-JP" altLang="en-US" sz="2400" dirty="0">
                <a:solidFill>
                  <a:srgbClr val="F61C5A"/>
                </a:solidFill>
              </a:rPr>
              <a:t>令和</a:t>
            </a:r>
            <a:r>
              <a:rPr lang="en-US" altLang="ja-JP" sz="2400" dirty="0">
                <a:solidFill>
                  <a:srgbClr val="F61C5A"/>
                </a:solidFill>
              </a:rPr>
              <a:t>6</a:t>
            </a:r>
            <a:r>
              <a:rPr lang="ja-JP" altLang="en-US" sz="2400" dirty="0">
                <a:solidFill>
                  <a:srgbClr val="F61C5A"/>
                </a:solidFill>
              </a:rPr>
              <a:t>年４月～</a:t>
            </a:r>
            <a:r>
              <a:rPr lang="en-US" altLang="ja-JP" sz="2400" dirty="0">
                <a:solidFill>
                  <a:srgbClr val="F61C5A"/>
                </a:solidFill>
              </a:rPr>
              <a:t>6</a:t>
            </a:r>
            <a:r>
              <a:rPr lang="ja-JP" altLang="en-US" sz="2400" dirty="0">
                <a:solidFill>
                  <a:srgbClr val="F61C5A"/>
                </a:solidFill>
              </a:rPr>
              <a:t>月限定</a:t>
            </a:r>
          </a:p>
        </p:txBody>
      </p:sp>
      <p:sp>
        <p:nvSpPr>
          <p:cNvPr id="98" name="テキスト プレースホルダー 97"/>
          <p:cNvSpPr>
            <a:spLocks noGrp="1"/>
          </p:cNvSpPr>
          <p:nvPr>
            <p:ph type="body" sz="quarter" idx="44"/>
          </p:nvPr>
        </p:nvSpPr>
        <p:spPr>
          <a:xfrm>
            <a:off x="400542" y="7451655"/>
            <a:ext cx="5479459" cy="1170500"/>
          </a:xfrm>
        </p:spPr>
        <p:txBody>
          <a:bodyPr lIns="0" tIns="0" anchor="t" anchorCtr="0">
            <a:normAutofit/>
          </a:bodyPr>
          <a:lstStyle/>
          <a:p>
            <a:pPr algn="just"/>
            <a:r>
              <a:rPr lang="en-US" altLang="ja-JP" sz="2100" b="1" dirty="0">
                <a:solidFill>
                  <a:schemeClr val="accent5">
                    <a:lumMod val="50000"/>
                  </a:schemeClr>
                </a:solidFill>
                <a:ea typeface="HG丸ｺﾞｼｯｸM-PRO" panose="020F0600000000000000" pitchFamily="50" charset="-128"/>
              </a:rPr>
              <a:t>【</a:t>
            </a:r>
            <a:r>
              <a:rPr lang="ja-JP" altLang="en-US" sz="2100" b="1" dirty="0">
                <a:solidFill>
                  <a:schemeClr val="accent5">
                    <a:lumMod val="50000"/>
                  </a:schemeClr>
                </a:solidFill>
              </a:rPr>
              <a:t>人間ドック</a:t>
            </a:r>
            <a:r>
              <a:rPr lang="en-US" altLang="ja-JP" sz="2100" b="1" dirty="0">
                <a:solidFill>
                  <a:schemeClr val="accent5">
                    <a:lumMod val="50000"/>
                  </a:schemeClr>
                </a:solidFill>
              </a:rPr>
              <a:t>】</a:t>
            </a:r>
            <a:r>
              <a:rPr lang="ja-JP" altLang="en-US" sz="2100" b="1" dirty="0">
                <a:solidFill>
                  <a:schemeClr val="accent5">
                    <a:lumMod val="50000"/>
                  </a:schemeClr>
                </a:solidFill>
              </a:rPr>
              <a:t>ご受診の際</a:t>
            </a:r>
            <a:endParaRPr lang="en-US" altLang="ja-JP" sz="2100" b="1" dirty="0">
              <a:solidFill>
                <a:schemeClr val="accent5">
                  <a:lumMod val="50000"/>
                </a:schemeClr>
              </a:solidFill>
            </a:endParaRPr>
          </a:p>
          <a:p>
            <a:pPr marL="108000" algn="just">
              <a:lnSpc>
                <a:spcPct val="100000"/>
              </a:lnSpc>
            </a:pPr>
            <a:r>
              <a:rPr lang="en-US" altLang="ja-JP" sz="2100" b="1" u="sng" dirty="0">
                <a:solidFill>
                  <a:srgbClr val="F61C5A"/>
                </a:solidFill>
              </a:rPr>
              <a:t>5</a:t>
            </a:r>
            <a:r>
              <a:rPr lang="ja-JP" altLang="en-US" sz="2100" b="1" u="sng" dirty="0" err="1">
                <a:solidFill>
                  <a:srgbClr val="F61C5A"/>
                </a:solidFill>
              </a:rPr>
              <a:t>，</a:t>
            </a:r>
            <a:r>
              <a:rPr lang="ja-JP" altLang="en-US" sz="2100" b="1" u="sng" dirty="0">
                <a:solidFill>
                  <a:srgbClr val="F61C5A"/>
                </a:solidFill>
              </a:rPr>
              <a:t>０００円のギフト券</a:t>
            </a:r>
            <a:r>
              <a:rPr lang="ja-JP" altLang="en-US" sz="2100" b="1" dirty="0">
                <a:solidFill>
                  <a:schemeClr val="accent5">
                    <a:lumMod val="50000"/>
                  </a:schemeClr>
                </a:solidFill>
              </a:rPr>
              <a:t>をご提供致します。</a:t>
            </a:r>
            <a:endParaRPr kumimoji="1" lang="ja-JP" altLang="en-US" sz="21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3" name="テキスト プレースホルダー 76">
            <a:extLst>
              <a:ext uri="{FF2B5EF4-FFF2-40B4-BE49-F238E27FC236}">
                <a16:creationId xmlns:a16="http://schemas.microsoft.com/office/drawing/2014/main" id="{A245A373-4DE3-482D-8003-E86162B9382A}"/>
              </a:ext>
            </a:extLst>
          </p:cNvPr>
          <p:cNvSpPr txBox="1">
            <a:spLocks/>
          </p:cNvSpPr>
          <p:nvPr/>
        </p:nvSpPr>
        <p:spPr>
          <a:xfrm>
            <a:off x="-15584" y="1041328"/>
            <a:ext cx="7572021" cy="10095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kumimoji="1" sz="8000" b="1" kern="1200">
                <a:solidFill>
                  <a:srgbClr val="37587D"/>
                </a:solidFill>
                <a:effectLst>
                  <a:glow rad="203200"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solidFill>
                  <a:schemeClr val="accent5">
                    <a:lumMod val="50000"/>
                  </a:schemeClr>
                </a:solidFill>
                <a:ea typeface="HG丸ｺﾞｼｯｸM-PRO" panose="020F0600000000000000" pitchFamily="50" charset="-128"/>
              </a:rPr>
              <a:t>一日人間ドック</a:t>
            </a:r>
            <a:endParaRPr lang="ja-JP" altLang="en-US" sz="600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4" name="図 33">
            <a:extLst>
              <a:ext uri="{FF2B5EF4-FFF2-40B4-BE49-F238E27FC236}">
                <a16:creationId xmlns:a16="http://schemas.microsoft.com/office/drawing/2014/main" id="{3140C36D-62A9-4666-9D66-BBBEAA42CA4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8886" t="-1194"/>
          <a:stretch/>
        </p:blipFill>
        <p:spPr>
          <a:xfrm>
            <a:off x="5836245" y="7030823"/>
            <a:ext cx="1415976" cy="1499784"/>
          </a:xfrm>
          <a:prstGeom prst="rect">
            <a:avLst/>
          </a:prstGeom>
        </p:spPr>
      </p:pic>
      <p:pic>
        <p:nvPicPr>
          <p:cNvPr id="46" name="図 45">
            <a:extLst>
              <a:ext uri="{FF2B5EF4-FFF2-40B4-BE49-F238E27FC236}">
                <a16:creationId xmlns:a16="http://schemas.microsoft.com/office/drawing/2014/main" id="{FD3F4CB0-62AE-498B-8335-A72CBACC38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17450" y="9218182"/>
            <a:ext cx="665984" cy="665984"/>
          </a:xfrm>
          <a:prstGeom prst="rect">
            <a:avLst/>
          </a:prstGeom>
        </p:spPr>
      </p:pic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0CCA7FBA-35B0-40AD-84E4-1D8A2954D94A}"/>
              </a:ext>
            </a:extLst>
          </p:cNvPr>
          <p:cNvSpPr txBox="1"/>
          <p:nvPr/>
        </p:nvSpPr>
        <p:spPr>
          <a:xfrm>
            <a:off x="2221587" y="8195886"/>
            <a:ext cx="39902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ja-JP" altLang="en-US" sz="1400" b="1" dirty="0"/>
          </a:p>
          <a:p>
            <a:endParaRPr kumimoji="1" lang="ja-JP" altLang="en-US" dirty="0"/>
          </a:p>
        </p:txBody>
      </p:sp>
      <p:pic>
        <p:nvPicPr>
          <p:cNvPr id="61" name="図 60">
            <a:extLst>
              <a:ext uri="{FF2B5EF4-FFF2-40B4-BE49-F238E27FC236}">
                <a16:creationId xmlns:a16="http://schemas.microsoft.com/office/drawing/2014/main" id="{E0BDDFF3-4C92-409F-86FA-1D0CB25DC85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101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rcRect l="6975" t="7554" r="13216" b="7925"/>
          <a:stretch/>
        </p:blipFill>
        <p:spPr>
          <a:xfrm>
            <a:off x="395277" y="4043165"/>
            <a:ext cx="2014330" cy="1497496"/>
          </a:xfrm>
          <a:prstGeom prst="rect">
            <a:avLst/>
          </a:prstGeom>
        </p:spPr>
      </p:pic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BB03EE05-6ED8-4670-8F3A-4669EB1835D6}"/>
              </a:ext>
            </a:extLst>
          </p:cNvPr>
          <p:cNvSpPr txBox="1"/>
          <p:nvPr/>
        </p:nvSpPr>
        <p:spPr>
          <a:xfrm>
            <a:off x="292791" y="5549826"/>
            <a:ext cx="22448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kumimoji="1" lang="ja-JP" altLang="en-US" sz="1600" b="1" dirty="0">
                <a:solidFill>
                  <a:schemeClr val="accent5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最新鋭の</a:t>
            </a:r>
            <a:r>
              <a:rPr kumimoji="1" lang="en-US" altLang="ja-JP" sz="1600" b="1" dirty="0">
                <a:solidFill>
                  <a:schemeClr val="accent5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MRI</a:t>
            </a:r>
            <a:r>
              <a:rPr kumimoji="1" lang="ja-JP" altLang="en-US" sz="1600" b="1" dirty="0">
                <a:solidFill>
                  <a:schemeClr val="accent5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装置</a:t>
            </a:r>
          </a:p>
        </p:txBody>
      </p:sp>
      <p:sp>
        <p:nvSpPr>
          <p:cNvPr id="35" name="円/楕円 34"/>
          <p:cNvSpPr/>
          <p:nvPr/>
        </p:nvSpPr>
        <p:spPr>
          <a:xfrm>
            <a:off x="121747" y="3675034"/>
            <a:ext cx="815242" cy="81524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8" name="テキスト プレースホルダー 87"/>
          <p:cNvSpPr>
            <a:spLocks noGrp="1"/>
          </p:cNvSpPr>
          <p:nvPr>
            <p:ph type="body" sz="quarter" idx="34"/>
          </p:nvPr>
        </p:nvSpPr>
        <p:spPr>
          <a:xfrm>
            <a:off x="142057" y="3780927"/>
            <a:ext cx="782198" cy="685919"/>
          </a:xfrm>
        </p:spPr>
        <p:txBody>
          <a:bodyPr/>
          <a:lstStyle/>
          <a:p>
            <a:r>
              <a:rPr kumimoji="1" lang="ja-JP" alt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オススメポイント</a:t>
            </a:r>
          </a:p>
        </p:txBody>
      </p:sp>
      <p:sp>
        <p:nvSpPr>
          <p:cNvPr id="101" name="テキスト プレースホルダー 100"/>
          <p:cNvSpPr>
            <a:spLocks noGrp="1"/>
          </p:cNvSpPr>
          <p:nvPr>
            <p:ph type="body" sz="quarter" idx="47"/>
          </p:nvPr>
        </p:nvSpPr>
        <p:spPr>
          <a:xfrm>
            <a:off x="179549" y="4100315"/>
            <a:ext cx="687075" cy="356938"/>
          </a:xfrm>
        </p:spPr>
        <p:txBody>
          <a:bodyPr/>
          <a:lstStyle/>
          <a:p>
            <a:pPr lvl="0"/>
            <a:r>
              <a:rPr lang="ja-JP" alt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①</a:t>
            </a:r>
          </a:p>
        </p:txBody>
      </p:sp>
      <p:sp>
        <p:nvSpPr>
          <p:cNvPr id="119" name="テキスト ボックス 118">
            <a:extLst>
              <a:ext uri="{FF2B5EF4-FFF2-40B4-BE49-F238E27FC236}">
                <a16:creationId xmlns:a16="http://schemas.microsoft.com/office/drawing/2014/main" id="{FEFD309A-24BD-459B-8F3B-7698E56DFEA6}"/>
              </a:ext>
            </a:extLst>
          </p:cNvPr>
          <p:cNvSpPr txBox="1"/>
          <p:nvPr/>
        </p:nvSpPr>
        <p:spPr>
          <a:xfrm>
            <a:off x="5211193" y="5554610"/>
            <a:ext cx="20400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ja-JP" altLang="en-US" sz="1600" b="1" dirty="0">
                <a:solidFill>
                  <a:schemeClr val="accent2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ミニ懐石</a:t>
            </a:r>
          </a:p>
        </p:txBody>
      </p:sp>
      <p:sp>
        <p:nvSpPr>
          <p:cNvPr id="127" name="テキスト プレースホルダー 93">
            <a:extLst>
              <a:ext uri="{FF2B5EF4-FFF2-40B4-BE49-F238E27FC236}">
                <a16:creationId xmlns:a16="http://schemas.microsoft.com/office/drawing/2014/main" id="{B5FE0A56-F865-481B-B253-53CEB4C855A5}"/>
              </a:ext>
            </a:extLst>
          </p:cNvPr>
          <p:cNvSpPr txBox="1">
            <a:spLocks/>
          </p:cNvSpPr>
          <p:nvPr/>
        </p:nvSpPr>
        <p:spPr>
          <a:xfrm>
            <a:off x="5199476" y="5819854"/>
            <a:ext cx="2053271" cy="8283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755934" rtl="0" eaLnBrk="1" fontAlgn="auto" latinLnBrk="0" hangingPunct="1">
              <a:lnSpc>
                <a:spcPct val="90000"/>
              </a:lnSpc>
              <a:spcBef>
                <a:spcPts val="82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1" sz="1400" b="0" kern="1200" baseline="0">
                <a:solidFill>
                  <a:srgbClr val="5C2A08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200" dirty="0"/>
              <a:t>管理栄養士監修の昼食をご用意しております。　　　旬の食材を使用したヘルシーメニューです。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D4356230-E643-4947-96BB-44F8E4DCE833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6000"/>
                    </a14:imgEffect>
                    <a14:imgEffect>
                      <a14:saturation sat="150000"/>
                    </a14:imgEffect>
                  </a14:imgLayer>
                </a14:imgProps>
              </a:ext>
            </a:extLst>
          </a:blip>
          <a:srcRect l="1495" t="972" r="1501" b="11302"/>
          <a:stretch/>
        </p:blipFill>
        <p:spPr>
          <a:xfrm>
            <a:off x="5158999" y="4075548"/>
            <a:ext cx="2121360" cy="1461687"/>
          </a:xfrm>
          <a:prstGeom prst="rect">
            <a:avLst/>
          </a:prstGeom>
        </p:spPr>
      </p:pic>
      <p:sp>
        <p:nvSpPr>
          <p:cNvPr id="128" name="テキスト ボックス 127">
            <a:extLst>
              <a:ext uri="{FF2B5EF4-FFF2-40B4-BE49-F238E27FC236}">
                <a16:creationId xmlns:a16="http://schemas.microsoft.com/office/drawing/2014/main" id="{FA6785B1-D7B9-498D-8056-19F86E3F364C}"/>
              </a:ext>
            </a:extLst>
          </p:cNvPr>
          <p:cNvSpPr txBox="1"/>
          <p:nvPr/>
        </p:nvSpPr>
        <p:spPr>
          <a:xfrm>
            <a:off x="2699623" y="5549452"/>
            <a:ext cx="22521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ja-JP" altLang="en-US" sz="1600" b="1" dirty="0">
                <a:solidFill>
                  <a:srgbClr val="CF4D72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胃部</a:t>
            </a:r>
            <a:r>
              <a:rPr lang="zh-TW" altLang="en-US" sz="1600" b="1" dirty="0">
                <a:solidFill>
                  <a:srgbClr val="CF4D72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内視鏡検査</a:t>
            </a:r>
          </a:p>
        </p:txBody>
      </p:sp>
      <p:sp>
        <p:nvSpPr>
          <p:cNvPr id="41" name="円/楕円 40"/>
          <p:cNvSpPr/>
          <p:nvPr/>
        </p:nvSpPr>
        <p:spPr>
          <a:xfrm>
            <a:off x="4971684" y="3662528"/>
            <a:ext cx="815242" cy="815242"/>
          </a:xfrm>
          <a:prstGeom prst="ellipse">
            <a:avLst/>
          </a:prstGeom>
          <a:solidFill>
            <a:srgbClr val="99FF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07" name="テキスト プレースホルダー 87">
            <a:extLst>
              <a:ext uri="{FF2B5EF4-FFF2-40B4-BE49-F238E27FC236}">
                <a16:creationId xmlns:a16="http://schemas.microsoft.com/office/drawing/2014/main" id="{2485EB06-27EF-44EF-A93F-BBF77724345B}"/>
              </a:ext>
            </a:extLst>
          </p:cNvPr>
          <p:cNvSpPr txBox="1">
            <a:spLocks/>
          </p:cNvSpPr>
          <p:nvPr/>
        </p:nvSpPr>
        <p:spPr>
          <a:xfrm>
            <a:off x="5004728" y="3783989"/>
            <a:ext cx="782198" cy="6859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kumimoji="1" sz="4000" b="1" kern="1200">
                <a:solidFill>
                  <a:schemeClr val="bg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オススメポイント</a:t>
            </a:r>
          </a:p>
        </p:txBody>
      </p:sp>
      <p:sp>
        <p:nvSpPr>
          <p:cNvPr id="109" name="テキスト プレースホルダー 100">
            <a:extLst>
              <a:ext uri="{FF2B5EF4-FFF2-40B4-BE49-F238E27FC236}">
                <a16:creationId xmlns:a16="http://schemas.microsoft.com/office/drawing/2014/main" id="{8BE5C1FC-C114-43EB-B858-19A97AFA6EB1}"/>
              </a:ext>
            </a:extLst>
          </p:cNvPr>
          <p:cNvSpPr txBox="1">
            <a:spLocks/>
          </p:cNvSpPr>
          <p:nvPr/>
        </p:nvSpPr>
        <p:spPr>
          <a:xfrm>
            <a:off x="5035767" y="4118994"/>
            <a:ext cx="687075" cy="3569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kumimoji="1" sz="1500" b="1" kern="120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③</a:t>
            </a:r>
          </a:p>
        </p:txBody>
      </p:sp>
      <p:sp>
        <p:nvSpPr>
          <p:cNvPr id="42" name="テキスト プレースホルダー 76">
            <a:extLst>
              <a:ext uri="{FF2B5EF4-FFF2-40B4-BE49-F238E27FC236}">
                <a16:creationId xmlns:a16="http://schemas.microsoft.com/office/drawing/2014/main" id="{6B773607-330B-4E98-9CCC-CE5F2045CC15}"/>
              </a:ext>
            </a:extLst>
          </p:cNvPr>
          <p:cNvSpPr txBox="1">
            <a:spLocks/>
          </p:cNvSpPr>
          <p:nvPr/>
        </p:nvSpPr>
        <p:spPr>
          <a:xfrm>
            <a:off x="0" y="2201482"/>
            <a:ext cx="7572021" cy="868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kumimoji="1" sz="8000" b="1" kern="1200">
                <a:solidFill>
                  <a:srgbClr val="37587D"/>
                </a:solidFill>
                <a:effectLst>
                  <a:glow rad="203200"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6000" dirty="0">
                <a:solidFill>
                  <a:srgbClr val="F61C5A"/>
                </a:solidFill>
                <a:ea typeface="HG丸ｺﾞｼｯｸM-PRO" panose="020F0600000000000000" pitchFamily="50" charset="-128"/>
              </a:rPr>
              <a:t>ご優待キャンペーン</a:t>
            </a:r>
            <a:endParaRPr lang="ja-JP" altLang="en-US" sz="6000" dirty="0">
              <a:solidFill>
                <a:srgbClr val="F61C5A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523E4D6-2E25-4505-A9DD-B06DA523C620}"/>
              </a:ext>
            </a:extLst>
          </p:cNvPr>
          <p:cNvSpPr txBox="1"/>
          <p:nvPr/>
        </p:nvSpPr>
        <p:spPr>
          <a:xfrm>
            <a:off x="-15583" y="3171060"/>
            <a:ext cx="7572021" cy="400110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r>
              <a:rPr kumimoji="1" lang="ja-JP" altLang="en-US" sz="2000" b="1" dirty="0">
                <a:solidFill>
                  <a:schemeClr val="accent5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比較的予約が取りやすい時期に、ゆったり受診しませんか？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8B5D60A1-387B-48C1-B3E2-9CC368A1FAB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  <a14:imgEffect>
                      <a14:saturation sat="17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10626" y="4090827"/>
            <a:ext cx="2030144" cy="1411867"/>
          </a:xfrm>
          <a:prstGeom prst="rect">
            <a:avLst/>
          </a:prstGeom>
        </p:spPr>
      </p:pic>
      <p:sp>
        <p:nvSpPr>
          <p:cNvPr id="39" name="円/楕円 38"/>
          <p:cNvSpPr/>
          <p:nvPr/>
        </p:nvSpPr>
        <p:spPr>
          <a:xfrm>
            <a:off x="2565061" y="3635544"/>
            <a:ext cx="815242" cy="815242"/>
          </a:xfrm>
          <a:prstGeom prst="ellipse">
            <a:avLst/>
          </a:prstGeom>
          <a:solidFill>
            <a:srgbClr val="DC7E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06" name="テキスト プレースホルダー 87">
            <a:extLst>
              <a:ext uri="{FF2B5EF4-FFF2-40B4-BE49-F238E27FC236}">
                <a16:creationId xmlns:a16="http://schemas.microsoft.com/office/drawing/2014/main" id="{362385A3-7CD9-4137-AE23-267F173FB645}"/>
              </a:ext>
            </a:extLst>
          </p:cNvPr>
          <p:cNvSpPr txBox="1">
            <a:spLocks/>
          </p:cNvSpPr>
          <p:nvPr/>
        </p:nvSpPr>
        <p:spPr>
          <a:xfrm>
            <a:off x="2593620" y="3788286"/>
            <a:ext cx="782198" cy="7066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kumimoji="1" sz="4000" b="1" kern="1200">
                <a:solidFill>
                  <a:schemeClr val="bg1"/>
                </a:solidFill>
                <a:latin typeface="Calibri" panose="020F0502020204030204" pitchFamily="34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オススメポイント</a:t>
            </a:r>
          </a:p>
        </p:txBody>
      </p:sp>
      <p:sp>
        <p:nvSpPr>
          <p:cNvPr id="108" name="テキスト プレースホルダー 100">
            <a:extLst>
              <a:ext uri="{FF2B5EF4-FFF2-40B4-BE49-F238E27FC236}">
                <a16:creationId xmlns:a16="http://schemas.microsoft.com/office/drawing/2014/main" id="{A651EF62-00BB-4F2B-A731-5B7496354143}"/>
              </a:ext>
            </a:extLst>
          </p:cNvPr>
          <p:cNvSpPr txBox="1">
            <a:spLocks/>
          </p:cNvSpPr>
          <p:nvPr/>
        </p:nvSpPr>
        <p:spPr>
          <a:xfrm>
            <a:off x="2629144" y="4109908"/>
            <a:ext cx="687075" cy="3569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kumimoji="1" sz="1500" b="1" kern="120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②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3CAD4814-721B-47C5-B101-5465A899D5DA}"/>
              </a:ext>
            </a:extLst>
          </p:cNvPr>
          <p:cNvSpPr/>
          <p:nvPr/>
        </p:nvSpPr>
        <p:spPr>
          <a:xfrm>
            <a:off x="1" y="84331"/>
            <a:ext cx="4875824" cy="777452"/>
          </a:xfrm>
          <a:prstGeom prst="rect">
            <a:avLst/>
          </a:prstGeom>
          <a:solidFill>
            <a:srgbClr val="FF76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富士ﾌｲﾙﾑｸﾞﾙｰﾌﾟ健康保険組合の皆様へ</a:t>
            </a:r>
            <a:endParaRPr lang="ja-JP" altLang="en-US" sz="2100" spc="-150" dirty="0">
              <a:ln w="9525" cmpd="sng">
                <a:solidFill>
                  <a:schemeClr val="bg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bg1"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テキスト プレースホルダー 76">
            <a:extLst>
              <a:ext uri="{FF2B5EF4-FFF2-40B4-BE49-F238E27FC236}">
                <a16:creationId xmlns:a16="http://schemas.microsoft.com/office/drawing/2014/main" id="{81370944-1391-44DE-B792-335349A61286}"/>
              </a:ext>
            </a:extLst>
          </p:cNvPr>
          <p:cNvSpPr txBox="1">
            <a:spLocks/>
          </p:cNvSpPr>
          <p:nvPr/>
        </p:nvSpPr>
        <p:spPr>
          <a:xfrm>
            <a:off x="4662433" y="160012"/>
            <a:ext cx="2971184" cy="777452"/>
          </a:xfrm>
          <a:prstGeom prst="rect">
            <a:avLst/>
          </a:prstGeom>
        </p:spPr>
        <p:txBody>
          <a:bodyPr vert="horz" lIns="91440" tIns="45720" rIns="91440" bIns="45720" rtlCol="0" anchor="ctr" anchorCtr="1">
            <a:noAutofit/>
          </a:bodyPr>
          <a:lstStyle>
            <a:lvl1pPr marL="0" indent="0" algn="ctr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kumimoji="1" sz="8000" b="1" kern="1200">
                <a:solidFill>
                  <a:srgbClr val="37587D"/>
                </a:solidFill>
                <a:effectLst>
                  <a:glow rad="203200"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566951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4918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2885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0853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8820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787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34754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2722" indent="-188984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Char char="•"/>
              <a:defRPr kumimoji="1" sz="14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800" dirty="0">
                <a:solidFill>
                  <a:srgbClr val="F61C5A"/>
                </a:solidFill>
              </a:rPr>
              <a:t>４月～</a:t>
            </a:r>
            <a:r>
              <a:rPr lang="en-US" altLang="ja-JP" sz="2800" dirty="0">
                <a:solidFill>
                  <a:srgbClr val="F61C5A"/>
                </a:solidFill>
              </a:rPr>
              <a:t>6</a:t>
            </a:r>
            <a:r>
              <a:rPr lang="ja-JP" altLang="en-US" sz="2800" dirty="0">
                <a:solidFill>
                  <a:srgbClr val="F61C5A"/>
                </a:solidFill>
              </a:rPr>
              <a:t>月限定</a:t>
            </a: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C19C6FD5-102B-4F9C-8151-CD2B723A792C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53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 t="63273" r="70524" b="-563"/>
          <a:stretch/>
        </p:blipFill>
        <p:spPr>
          <a:xfrm>
            <a:off x="5161567" y="4992672"/>
            <a:ext cx="625359" cy="54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35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【Philips】presentation_template_16x9_aug18">
  <a:themeElements>
    <a:clrScheme name="Philip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6A1"/>
      </a:accent1>
      <a:accent2>
        <a:srgbClr val="1E9D8B"/>
      </a:accent2>
      <a:accent3>
        <a:srgbClr val="5B8F22"/>
      </a:accent3>
      <a:accent4>
        <a:srgbClr val="E98300"/>
      </a:accent4>
      <a:accent5>
        <a:srgbClr val="EC4371"/>
      </a:accent5>
      <a:accent6>
        <a:srgbClr val="9E2DB1"/>
      </a:accent6>
      <a:hlink>
        <a:srgbClr val="0089C4"/>
      </a:hlink>
      <a:folHlink>
        <a:srgbClr val="631D7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aug18" id="{56A13CBC-EF3E-41E6-B92F-C843FF6B9EC9}" vid="{DC2E6CF5-64B9-4E50-944C-546BB0E4E1FD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78</TotalTime>
  <Words>225</Words>
  <Application>Microsoft Office PowerPoint</Application>
  <PresentationFormat>ユーザー設定</PresentationFormat>
  <Paragraphs>29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2" baseType="lpstr">
      <vt:lpstr>HG丸ｺﾞｼｯｸM-PRO</vt:lpstr>
      <vt:lpstr>ＭＳ Ｐゴシック</vt:lpstr>
      <vt:lpstr>Segoe</vt:lpstr>
      <vt:lpstr>メイリオ</vt:lpstr>
      <vt:lpstr>游ゴシック</vt:lpstr>
      <vt:lpstr>Arial</vt:lpstr>
      <vt:lpstr>Calibri</vt:lpstr>
      <vt:lpstr>Calibri Light</vt:lpstr>
      <vt:lpstr>Office テーマ</vt:lpstr>
      <vt:lpstr>【Philips】presentation_template_16x9_aug18</vt:lpstr>
      <vt:lpstr>think-cell Slide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ALFA</dc:creator>
  <cp:lastModifiedBy>ALFA</cp:lastModifiedBy>
  <cp:revision>73</cp:revision>
  <cp:lastPrinted>2024-01-31T08:11:02Z</cp:lastPrinted>
  <dcterms:created xsi:type="dcterms:W3CDTF">2015-03-31T02:40:23Z</dcterms:created>
  <dcterms:modified xsi:type="dcterms:W3CDTF">2024-02-07T01:39:33Z</dcterms:modified>
</cp:coreProperties>
</file>